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7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8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notesSlides/notesSlide9.xml" ContentType="application/vnd.openxmlformats-officedocument.presentationml.notesSlide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ags/tag1.xml" ContentType="application/vnd.openxmlformats-officedocument.presentationml.tags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diagrams/data14.xml" ContentType="application/vnd.openxmlformats-officedocument.drawingml.diagramData+xml"/>
  <Override PartName="/ppt/diagrams/layout14.xml" ContentType="application/vnd.openxmlformats-officedocument.drawingml.diagramLayout+xml"/>
  <Override PartName="/ppt/diagrams/quickStyle14.xml" ContentType="application/vnd.openxmlformats-officedocument.drawingml.diagramStyle+xml"/>
  <Override PartName="/ppt/diagrams/colors14.xml" ContentType="application/vnd.openxmlformats-officedocument.drawingml.diagramColors+xml"/>
  <Override PartName="/ppt/diagrams/drawing14.xml" ContentType="application/vnd.ms-office.drawingml.diagramDrawing+xml"/>
  <Override PartName="/ppt/diagrams/data15.xml" ContentType="application/vnd.openxmlformats-officedocument.drawingml.diagramData+xml"/>
  <Override PartName="/ppt/diagrams/layout15.xml" ContentType="application/vnd.openxmlformats-officedocument.drawingml.diagramLayout+xml"/>
  <Override PartName="/ppt/diagrams/quickStyle15.xml" ContentType="application/vnd.openxmlformats-officedocument.drawingml.diagramStyle+xml"/>
  <Override PartName="/ppt/diagrams/colors15.xml" ContentType="application/vnd.openxmlformats-officedocument.drawingml.diagramColors+xml"/>
  <Override PartName="/ppt/diagrams/drawing15.xml" ContentType="application/vnd.ms-office.drawingml.diagramDrawing+xml"/>
  <Override PartName="/ppt/diagrams/data16.xml" ContentType="application/vnd.openxmlformats-officedocument.drawingml.diagramData+xml"/>
  <Override PartName="/ppt/diagrams/layout16.xml" ContentType="application/vnd.openxmlformats-officedocument.drawingml.diagramLayout+xml"/>
  <Override PartName="/ppt/diagrams/quickStyle16.xml" ContentType="application/vnd.openxmlformats-officedocument.drawingml.diagramStyle+xml"/>
  <Override PartName="/ppt/diagrams/colors16.xml" ContentType="application/vnd.openxmlformats-officedocument.drawingml.diagramColors+xml"/>
  <Override PartName="/ppt/diagrams/drawing16.xml" ContentType="application/vnd.ms-office.drawingml.diagramDrawing+xml"/>
  <Override PartName="/ppt/diagrams/data17.xml" ContentType="application/vnd.openxmlformats-officedocument.drawingml.diagramData+xml"/>
  <Override PartName="/ppt/diagrams/layout17.xml" ContentType="application/vnd.openxmlformats-officedocument.drawingml.diagramLayout+xml"/>
  <Override PartName="/ppt/diagrams/quickStyle17.xml" ContentType="application/vnd.openxmlformats-officedocument.drawingml.diagramStyle+xml"/>
  <Override PartName="/ppt/diagrams/colors17.xml" ContentType="application/vnd.openxmlformats-officedocument.drawingml.diagramColors+xml"/>
  <Override PartName="/ppt/diagrams/drawing17.xml" ContentType="application/vnd.ms-office.drawingml.diagramDrawing+xml"/>
  <Override PartName="/ppt/theme/themeOverride1.xml" ContentType="application/vnd.openxmlformats-officedocument.themeOverr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8.xml" ContentType="application/vnd.openxmlformats-officedocument.drawingml.diagramData+xml"/>
  <Override PartName="/ppt/diagrams/layout18.xml" ContentType="application/vnd.openxmlformats-officedocument.drawingml.diagramLayout+xml"/>
  <Override PartName="/ppt/diagrams/quickStyle18.xml" ContentType="application/vnd.openxmlformats-officedocument.drawingml.diagramStyle+xml"/>
  <Override PartName="/ppt/diagrams/colors18.xml" ContentType="application/vnd.openxmlformats-officedocument.drawingml.diagramColors+xml"/>
  <Override PartName="/ppt/diagrams/drawing18.xml" ContentType="application/vnd.ms-office.drawingml.diagramDrawing+xml"/>
  <Override PartName="/ppt/diagrams/data19.xml" ContentType="application/vnd.openxmlformats-officedocument.drawingml.diagramData+xml"/>
  <Override PartName="/ppt/diagrams/layout19.xml" ContentType="application/vnd.openxmlformats-officedocument.drawingml.diagramLayout+xml"/>
  <Override PartName="/ppt/diagrams/quickStyle19.xml" ContentType="application/vnd.openxmlformats-officedocument.drawingml.diagramStyle+xml"/>
  <Override PartName="/ppt/diagrams/colors19.xml" ContentType="application/vnd.openxmlformats-officedocument.drawingml.diagramColors+xml"/>
  <Override PartName="/ppt/diagrams/drawing19.xml" ContentType="application/vnd.ms-office.drawingml.diagramDrawing+xml"/>
  <Override PartName="/ppt/notesSlides/notesSlide12.xml" ContentType="application/vnd.openxmlformats-officedocument.presentationml.notesSlide+xml"/>
  <Override PartName="/ppt/diagrams/data20.xml" ContentType="application/vnd.openxmlformats-officedocument.drawingml.diagramData+xml"/>
  <Override PartName="/ppt/diagrams/layout20.xml" ContentType="application/vnd.openxmlformats-officedocument.drawingml.diagramLayout+xml"/>
  <Override PartName="/ppt/diagrams/quickStyle20.xml" ContentType="application/vnd.openxmlformats-officedocument.drawingml.diagramStyle+xml"/>
  <Override PartName="/ppt/diagrams/colors20.xml" ContentType="application/vnd.openxmlformats-officedocument.drawingml.diagramColors+xml"/>
  <Override PartName="/ppt/diagrams/drawing20.xml" ContentType="application/vnd.ms-office.drawingml.diagramDrawing+xml"/>
  <Override PartName="/ppt/notesSlides/notesSlide13.xml" ContentType="application/vnd.openxmlformats-officedocument.presentationml.notesSlide+xml"/>
  <Override PartName="/ppt/diagrams/data21.xml" ContentType="application/vnd.openxmlformats-officedocument.drawingml.diagramData+xml"/>
  <Override PartName="/ppt/diagrams/layout21.xml" ContentType="application/vnd.openxmlformats-officedocument.drawingml.diagramLayout+xml"/>
  <Override PartName="/ppt/diagrams/quickStyle21.xml" ContentType="application/vnd.openxmlformats-officedocument.drawingml.diagramStyle+xml"/>
  <Override PartName="/ppt/diagrams/colors21.xml" ContentType="application/vnd.openxmlformats-officedocument.drawingml.diagramColors+xml"/>
  <Override PartName="/ppt/diagrams/drawing21.xml" ContentType="application/vnd.ms-office.drawingml.diagramDrawing+xml"/>
  <Override PartName="/ppt/notesSlides/notesSlide14.xml" ContentType="application/vnd.openxmlformats-officedocument.presentationml.notesSlide+xml"/>
  <Override PartName="/ppt/diagrams/data22.xml" ContentType="application/vnd.openxmlformats-officedocument.drawingml.diagramData+xml"/>
  <Override PartName="/ppt/diagrams/layout22.xml" ContentType="application/vnd.openxmlformats-officedocument.drawingml.diagramLayout+xml"/>
  <Override PartName="/ppt/diagrams/quickStyle22.xml" ContentType="application/vnd.openxmlformats-officedocument.drawingml.diagramStyle+xml"/>
  <Override PartName="/ppt/diagrams/colors22.xml" ContentType="application/vnd.openxmlformats-officedocument.drawingml.diagramColors+xml"/>
  <Override PartName="/ppt/diagrams/drawing22.xml" ContentType="application/vnd.ms-office.drawingml.diagramDrawing+xml"/>
  <Override PartName="/ppt/diagrams/data23.xml" ContentType="application/vnd.openxmlformats-officedocument.drawingml.diagramData+xml"/>
  <Override PartName="/ppt/diagrams/layout23.xml" ContentType="application/vnd.openxmlformats-officedocument.drawingml.diagramLayout+xml"/>
  <Override PartName="/ppt/diagrams/quickStyle23.xml" ContentType="application/vnd.openxmlformats-officedocument.drawingml.diagramStyle+xml"/>
  <Override PartName="/ppt/diagrams/colors23.xml" ContentType="application/vnd.openxmlformats-officedocument.drawingml.diagramColors+xml"/>
  <Override PartName="/ppt/diagrams/drawing23.xml" ContentType="application/vnd.ms-office.drawingml.diagramDrawing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 /><Relationship Id="rId2" Type="http://schemas.openxmlformats.org/package/2006/relationships/metadata/core-properties" Target="docProps/core.xml" /><Relationship Id="rId1" Type="http://schemas.openxmlformats.org/officeDocument/2006/relationships/officeDocument" Target="ppt/presentation.xml" 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1"/>
    <p:sldMasterId id="2147483673" r:id="rId2"/>
  </p:sldMasterIdLst>
  <p:notesMasterIdLst>
    <p:notesMasterId r:id="rId58"/>
  </p:notesMasterIdLst>
  <p:handoutMasterIdLst>
    <p:handoutMasterId r:id="rId59"/>
  </p:handoutMasterIdLst>
  <p:sldIdLst>
    <p:sldId id="696" r:id="rId3"/>
    <p:sldId id="517" r:id="rId4"/>
    <p:sldId id="697" r:id="rId5"/>
    <p:sldId id="657" r:id="rId6"/>
    <p:sldId id="611" r:id="rId7"/>
    <p:sldId id="637" r:id="rId8"/>
    <p:sldId id="638" r:id="rId9"/>
    <p:sldId id="639" r:id="rId10"/>
    <p:sldId id="640" r:id="rId11"/>
    <p:sldId id="641" r:id="rId12"/>
    <p:sldId id="706" r:id="rId13"/>
    <p:sldId id="603" r:id="rId14"/>
    <p:sldId id="569" r:id="rId15"/>
    <p:sldId id="570" r:id="rId16"/>
    <p:sldId id="642" r:id="rId17"/>
    <p:sldId id="689" r:id="rId18"/>
    <p:sldId id="698" r:id="rId19"/>
    <p:sldId id="707" r:id="rId20"/>
    <p:sldId id="708" r:id="rId21"/>
    <p:sldId id="709" r:id="rId22"/>
    <p:sldId id="688" r:id="rId23"/>
    <p:sldId id="580" r:id="rId24"/>
    <p:sldId id="619" r:id="rId25"/>
    <p:sldId id="673" r:id="rId26"/>
    <p:sldId id="674" r:id="rId27"/>
    <p:sldId id="675" r:id="rId28"/>
    <p:sldId id="723" r:id="rId29"/>
    <p:sldId id="700" r:id="rId30"/>
    <p:sldId id="671" r:id="rId31"/>
    <p:sldId id="614" r:id="rId32"/>
    <p:sldId id="710" r:id="rId33"/>
    <p:sldId id="711" r:id="rId34"/>
    <p:sldId id="712" r:id="rId35"/>
    <p:sldId id="713" r:id="rId36"/>
    <p:sldId id="714" r:id="rId37"/>
    <p:sldId id="715" r:id="rId38"/>
    <p:sldId id="716" r:id="rId39"/>
    <p:sldId id="717" r:id="rId40"/>
    <p:sldId id="718" r:id="rId41"/>
    <p:sldId id="719" r:id="rId42"/>
    <p:sldId id="720" r:id="rId43"/>
    <p:sldId id="721" r:id="rId44"/>
    <p:sldId id="722" r:id="rId45"/>
    <p:sldId id="681" r:id="rId46"/>
    <p:sldId id="685" r:id="rId47"/>
    <p:sldId id="724" r:id="rId48"/>
    <p:sldId id="607" r:id="rId49"/>
    <p:sldId id="703" r:id="rId50"/>
    <p:sldId id="664" r:id="rId51"/>
    <p:sldId id="670" r:id="rId52"/>
    <p:sldId id="699" r:id="rId53"/>
    <p:sldId id="690" r:id="rId54"/>
    <p:sldId id="691" r:id="rId55"/>
    <p:sldId id="668" r:id="rId56"/>
    <p:sldId id="623" r:id="rId57"/>
  </p:sldIdLst>
  <p:sldSz cx="9144000" cy="6858000" type="screen4x3"/>
  <p:notesSz cx="6797675" cy="9926638"/>
  <p:embeddedFontLst>
    <p:embeddedFont>
      <p:font typeface="標楷體" panose="03000509000000000000" pitchFamily="49" charset="-120"/>
      <p:regular r:id="rId60"/>
    </p:embeddedFont>
    <p:embeddedFont>
      <p:font typeface="Arial Black" panose="020B0604020202020204" pitchFamily="34" charset="0"/>
      <p:bold r:id="rId61"/>
    </p:embeddedFont>
    <p:embeddedFont>
      <p:font typeface="Calibri" panose="020F0502020204030204" pitchFamily="34" charset="0"/>
      <p:regular r:id="rId62"/>
      <p:bold r:id="rId63"/>
      <p:italic r:id="rId64"/>
      <p:boldItalic r:id="rId65"/>
    </p:embeddedFont>
    <p:embeddedFont>
      <p:font typeface="Calibri Light" panose="020F0302020204030204" pitchFamily="34" charset="0"/>
      <p:regular r:id="rId66"/>
      <p:italic r:id="rId67"/>
    </p:embeddedFont>
    <p:embeddedFont>
      <p:font typeface="Microsoft YaHei" panose="020B0503020204020204" pitchFamily="34" charset="-122"/>
      <p:regular r:id="rId68"/>
      <p:bold r:id="rId69"/>
    </p:embeddedFont>
    <p:embeddedFont>
      <p:font typeface="SimSun" panose="02010600030101010101" pitchFamily="2" charset="-122"/>
      <p:regular r:id="rId70"/>
    </p:embeddedFont>
    <p:embeddedFont>
      <p:font typeface="微軟正黑體" panose="020B0604030504040204" pitchFamily="34" charset="-120"/>
      <p:regular r:id="rId71"/>
      <p:bold r:id="rId72"/>
    </p:embeddedFont>
  </p:embeddedFontLst>
  <p:defaultTextStyle>
    <a:defPPr>
      <a:defRPr lang="zh-TW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新細明體" panose="02020500000000000000" pitchFamily="18" charset="-120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新細明體" panose="02020500000000000000" pitchFamily="18" charset="-120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新細明體" panose="02020500000000000000" pitchFamily="18" charset="-120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新細明體" panose="02020500000000000000" pitchFamily="18" charset="-120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新細明體" panose="02020500000000000000" pitchFamily="18" charset="-120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新細明體" panose="02020500000000000000" pitchFamily="18" charset="-120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新細明體" panose="02020500000000000000" pitchFamily="18" charset="-120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新細明體" panose="02020500000000000000" pitchFamily="18" charset="-120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新細明體" panose="02020500000000000000" pitchFamily="18" charset="-120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ED7D31"/>
    <a:srgbClr val="0000FF"/>
    <a:srgbClr val="FF0066"/>
    <a:srgbClr val="FF9966"/>
    <a:srgbClr val="FF7C80"/>
    <a:srgbClr val="B20030"/>
    <a:srgbClr val="FFE28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等深淺樣式 2 - 輔色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中等深淺樣式 2 - 輔色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淺色樣式 3 - 輔色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9012ECD-51FC-41F1-AA8D-1B2483CD663E}" styleName="淺色樣式 2 - 輔色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073A0DAA-6AF3-43AB-8588-CEC1D06C72B9}" styleName="中等深淺樣式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中等深淺樣式 2 - 輔色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中等深淺樣式 2 - 輔色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B9631B5-78F2-41C9-869B-9F39066F8104}" styleName="中等深淺樣式 3 - 輔色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5BE263C-DBD7-4A20-BB59-AAB30ACAA65A}" styleName="中等深淺樣式 3 - 輔色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DCAF9ED-07DC-4A11-8D7F-57B35C25682E}" styleName="中等深淺樣式 1 - 輔色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E171933-4619-4E11-9A3F-F7608DF75F80}" styleName="中等深淺樣式 1 - 輔色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DF18680-E054-41AD-8BC1-D1AEF772440D}" styleName="中等深淺樣式 2 - 輔色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553" autoAdjust="0"/>
    <p:restoredTop sz="91717" autoAdjust="0"/>
  </p:normalViewPr>
  <p:slideViewPr>
    <p:cSldViewPr snapToGrid="0">
      <p:cViewPr varScale="1">
        <p:scale>
          <a:sx n="102" d="100"/>
          <a:sy n="102" d="100"/>
        </p:scale>
        <p:origin x="1032" y="1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 /><Relationship Id="rId18" Type="http://schemas.openxmlformats.org/officeDocument/2006/relationships/slide" Target="slides/slide16.xml" /><Relationship Id="rId26" Type="http://schemas.openxmlformats.org/officeDocument/2006/relationships/slide" Target="slides/slide24.xml" /><Relationship Id="rId39" Type="http://schemas.openxmlformats.org/officeDocument/2006/relationships/slide" Target="slides/slide37.xml" /><Relationship Id="rId21" Type="http://schemas.openxmlformats.org/officeDocument/2006/relationships/slide" Target="slides/slide19.xml" /><Relationship Id="rId34" Type="http://schemas.openxmlformats.org/officeDocument/2006/relationships/slide" Target="slides/slide32.xml" /><Relationship Id="rId42" Type="http://schemas.openxmlformats.org/officeDocument/2006/relationships/slide" Target="slides/slide40.xml" /><Relationship Id="rId47" Type="http://schemas.openxmlformats.org/officeDocument/2006/relationships/slide" Target="slides/slide45.xml" /><Relationship Id="rId50" Type="http://schemas.openxmlformats.org/officeDocument/2006/relationships/slide" Target="slides/slide48.xml" /><Relationship Id="rId55" Type="http://schemas.openxmlformats.org/officeDocument/2006/relationships/slide" Target="slides/slide53.xml" /><Relationship Id="rId63" Type="http://schemas.openxmlformats.org/officeDocument/2006/relationships/font" Target="fonts/font4.fntdata" /><Relationship Id="rId68" Type="http://schemas.openxmlformats.org/officeDocument/2006/relationships/font" Target="fonts/font9.fntdata" /><Relationship Id="rId76" Type="http://schemas.openxmlformats.org/officeDocument/2006/relationships/tableStyles" Target="tableStyles.xml" /><Relationship Id="rId7" Type="http://schemas.openxmlformats.org/officeDocument/2006/relationships/slide" Target="slides/slide5.xml" /><Relationship Id="rId71" Type="http://schemas.openxmlformats.org/officeDocument/2006/relationships/font" Target="fonts/font12.fntdata" /><Relationship Id="rId2" Type="http://schemas.openxmlformats.org/officeDocument/2006/relationships/slideMaster" Target="slideMasters/slideMaster2.xml" /><Relationship Id="rId16" Type="http://schemas.openxmlformats.org/officeDocument/2006/relationships/slide" Target="slides/slide14.xml" /><Relationship Id="rId29" Type="http://schemas.openxmlformats.org/officeDocument/2006/relationships/slide" Target="slides/slide27.xml" /><Relationship Id="rId11" Type="http://schemas.openxmlformats.org/officeDocument/2006/relationships/slide" Target="slides/slide9.xml" /><Relationship Id="rId24" Type="http://schemas.openxmlformats.org/officeDocument/2006/relationships/slide" Target="slides/slide22.xml" /><Relationship Id="rId32" Type="http://schemas.openxmlformats.org/officeDocument/2006/relationships/slide" Target="slides/slide30.xml" /><Relationship Id="rId37" Type="http://schemas.openxmlformats.org/officeDocument/2006/relationships/slide" Target="slides/slide35.xml" /><Relationship Id="rId40" Type="http://schemas.openxmlformats.org/officeDocument/2006/relationships/slide" Target="slides/slide38.xml" /><Relationship Id="rId45" Type="http://schemas.openxmlformats.org/officeDocument/2006/relationships/slide" Target="slides/slide43.xml" /><Relationship Id="rId53" Type="http://schemas.openxmlformats.org/officeDocument/2006/relationships/slide" Target="slides/slide51.xml" /><Relationship Id="rId58" Type="http://schemas.openxmlformats.org/officeDocument/2006/relationships/notesMaster" Target="notesMasters/notesMaster1.xml" /><Relationship Id="rId66" Type="http://schemas.openxmlformats.org/officeDocument/2006/relationships/font" Target="fonts/font7.fntdata" /><Relationship Id="rId74" Type="http://schemas.openxmlformats.org/officeDocument/2006/relationships/viewProps" Target="viewProps.xml" /><Relationship Id="rId5" Type="http://schemas.openxmlformats.org/officeDocument/2006/relationships/slide" Target="slides/slide3.xml" /><Relationship Id="rId15" Type="http://schemas.openxmlformats.org/officeDocument/2006/relationships/slide" Target="slides/slide13.xml" /><Relationship Id="rId23" Type="http://schemas.openxmlformats.org/officeDocument/2006/relationships/slide" Target="slides/slide21.xml" /><Relationship Id="rId28" Type="http://schemas.openxmlformats.org/officeDocument/2006/relationships/slide" Target="slides/slide26.xml" /><Relationship Id="rId36" Type="http://schemas.openxmlformats.org/officeDocument/2006/relationships/slide" Target="slides/slide34.xml" /><Relationship Id="rId49" Type="http://schemas.openxmlformats.org/officeDocument/2006/relationships/slide" Target="slides/slide47.xml" /><Relationship Id="rId57" Type="http://schemas.openxmlformats.org/officeDocument/2006/relationships/slide" Target="slides/slide55.xml" /><Relationship Id="rId61" Type="http://schemas.openxmlformats.org/officeDocument/2006/relationships/font" Target="fonts/font2.fntdata" /><Relationship Id="rId10" Type="http://schemas.openxmlformats.org/officeDocument/2006/relationships/slide" Target="slides/slide8.xml" /><Relationship Id="rId19" Type="http://schemas.openxmlformats.org/officeDocument/2006/relationships/slide" Target="slides/slide17.xml" /><Relationship Id="rId31" Type="http://schemas.openxmlformats.org/officeDocument/2006/relationships/slide" Target="slides/slide29.xml" /><Relationship Id="rId44" Type="http://schemas.openxmlformats.org/officeDocument/2006/relationships/slide" Target="slides/slide42.xml" /><Relationship Id="rId52" Type="http://schemas.openxmlformats.org/officeDocument/2006/relationships/slide" Target="slides/slide50.xml" /><Relationship Id="rId60" Type="http://schemas.openxmlformats.org/officeDocument/2006/relationships/font" Target="fonts/font1.fntdata" /><Relationship Id="rId65" Type="http://schemas.openxmlformats.org/officeDocument/2006/relationships/font" Target="fonts/font6.fntdata" /><Relationship Id="rId73" Type="http://schemas.openxmlformats.org/officeDocument/2006/relationships/presProps" Target="presProps.xml" /><Relationship Id="rId4" Type="http://schemas.openxmlformats.org/officeDocument/2006/relationships/slide" Target="slides/slide2.xml" /><Relationship Id="rId9" Type="http://schemas.openxmlformats.org/officeDocument/2006/relationships/slide" Target="slides/slide7.xml" /><Relationship Id="rId14" Type="http://schemas.openxmlformats.org/officeDocument/2006/relationships/slide" Target="slides/slide12.xml" /><Relationship Id="rId22" Type="http://schemas.openxmlformats.org/officeDocument/2006/relationships/slide" Target="slides/slide20.xml" /><Relationship Id="rId27" Type="http://schemas.openxmlformats.org/officeDocument/2006/relationships/slide" Target="slides/slide25.xml" /><Relationship Id="rId30" Type="http://schemas.openxmlformats.org/officeDocument/2006/relationships/slide" Target="slides/slide28.xml" /><Relationship Id="rId35" Type="http://schemas.openxmlformats.org/officeDocument/2006/relationships/slide" Target="slides/slide33.xml" /><Relationship Id="rId43" Type="http://schemas.openxmlformats.org/officeDocument/2006/relationships/slide" Target="slides/slide41.xml" /><Relationship Id="rId48" Type="http://schemas.openxmlformats.org/officeDocument/2006/relationships/slide" Target="slides/slide46.xml" /><Relationship Id="rId56" Type="http://schemas.openxmlformats.org/officeDocument/2006/relationships/slide" Target="slides/slide54.xml" /><Relationship Id="rId64" Type="http://schemas.openxmlformats.org/officeDocument/2006/relationships/font" Target="fonts/font5.fntdata" /><Relationship Id="rId69" Type="http://schemas.openxmlformats.org/officeDocument/2006/relationships/font" Target="fonts/font10.fntdata" /><Relationship Id="rId8" Type="http://schemas.openxmlformats.org/officeDocument/2006/relationships/slide" Target="slides/slide6.xml" /><Relationship Id="rId51" Type="http://schemas.openxmlformats.org/officeDocument/2006/relationships/slide" Target="slides/slide49.xml" /><Relationship Id="rId72" Type="http://schemas.openxmlformats.org/officeDocument/2006/relationships/font" Target="fonts/font13.fntdata" /><Relationship Id="rId3" Type="http://schemas.openxmlformats.org/officeDocument/2006/relationships/slide" Target="slides/slide1.xml" /><Relationship Id="rId12" Type="http://schemas.openxmlformats.org/officeDocument/2006/relationships/slide" Target="slides/slide10.xml" /><Relationship Id="rId17" Type="http://schemas.openxmlformats.org/officeDocument/2006/relationships/slide" Target="slides/slide15.xml" /><Relationship Id="rId25" Type="http://schemas.openxmlformats.org/officeDocument/2006/relationships/slide" Target="slides/slide23.xml" /><Relationship Id="rId33" Type="http://schemas.openxmlformats.org/officeDocument/2006/relationships/slide" Target="slides/slide31.xml" /><Relationship Id="rId38" Type="http://schemas.openxmlformats.org/officeDocument/2006/relationships/slide" Target="slides/slide36.xml" /><Relationship Id="rId46" Type="http://schemas.openxmlformats.org/officeDocument/2006/relationships/slide" Target="slides/slide44.xml" /><Relationship Id="rId59" Type="http://schemas.openxmlformats.org/officeDocument/2006/relationships/handoutMaster" Target="handoutMasters/handoutMaster1.xml" /><Relationship Id="rId67" Type="http://schemas.openxmlformats.org/officeDocument/2006/relationships/font" Target="fonts/font8.fntdata" /><Relationship Id="rId20" Type="http://schemas.openxmlformats.org/officeDocument/2006/relationships/slide" Target="slides/slide18.xml" /><Relationship Id="rId41" Type="http://schemas.openxmlformats.org/officeDocument/2006/relationships/slide" Target="slides/slide39.xml" /><Relationship Id="rId54" Type="http://schemas.openxmlformats.org/officeDocument/2006/relationships/slide" Target="slides/slide52.xml" /><Relationship Id="rId62" Type="http://schemas.openxmlformats.org/officeDocument/2006/relationships/font" Target="fonts/font3.fntdata" /><Relationship Id="rId70" Type="http://schemas.openxmlformats.org/officeDocument/2006/relationships/font" Target="fonts/font11.fntdata" /><Relationship Id="rId75" Type="http://schemas.openxmlformats.org/officeDocument/2006/relationships/theme" Target="theme/theme1.xml" /><Relationship Id="rId1" Type="http://schemas.openxmlformats.org/officeDocument/2006/relationships/slideMaster" Target="slideMasters/slideMaster1.xml" /><Relationship Id="rId6" Type="http://schemas.openxmlformats.org/officeDocument/2006/relationships/slide" Target="slides/slide4.xml" /></Relationships>
</file>

<file path=ppt/diagrams/_rels/data22.xml.rels><?xml version="1.0" encoding="UTF-8" standalone="yes"?>
<Relationships xmlns="http://schemas.openxmlformats.org/package/2006/relationships"><Relationship Id="rId1" Type="http://schemas.openxmlformats.org/officeDocument/2006/relationships/hyperlink" Target="https://www.naer.edu.tw/files/15-1000-14113,c639-1.php?Lang=zh-tw" TargetMode="External" /></Relationships>
</file>

<file path=ppt/diagrams/_rels/data23.xml.rels><?xml version="1.0" encoding="UTF-8" standalone="yes"?>
<Relationships xmlns="http://schemas.openxmlformats.org/package/2006/relationships"><Relationship Id="rId1" Type="http://schemas.openxmlformats.org/officeDocument/2006/relationships/hyperlink" Target="https://www.naer.edu.tw/files/11-1000-1625.php?Lang=zh-tw" TargetMode="External" /></Relationships>
</file>

<file path=ppt/diagrams/_rels/drawing22.xml.rels><?xml version="1.0" encoding="UTF-8" standalone="yes"?>
<Relationships xmlns="http://schemas.openxmlformats.org/package/2006/relationships"><Relationship Id="rId1" Type="http://schemas.openxmlformats.org/officeDocument/2006/relationships/hyperlink" Target="https://www.naer.edu.tw/files/15-1000-14113,c639-1.php?Lang=zh-tw" TargetMode="External" /></Relationships>
</file>

<file path=ppt/diagrams/_rels/drawing23.xml.rels><?xml version="1.0" encoding="UTF-8" standalone="yes"?>
<Relationships xmlns="http://schemas.openxmlformats.org/package/2006/relationships"><Relationship Id="rId1" Type="http://schemas.openxmlformats.org/officeDocument/2006/relationships/hyperlink" Target="https://www.naer.edu.tw/files/11-1000-1625.php?Lang=zh-tw" TargetMode="External" 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4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A4AA8E9-73F6-42EC-9E56-B62F2A0A4935}" type="doc">
      <dgm:prSet loTypeId="urn:microsoft.com/office/officeart/2005/8/layout/hierarchy4" loCatId="hierarchy" qsTypeId="urn:microsoft.com/office/officeart/2005/8/quickstyle/simple3" qsCatId="simple" csTypeId="urn:microsoft.com/office/officeart/2005/8/colors/colorful5" csCatId="colorful" phldr="1"/>
      <dgm:spPr/>
      <dgm:t>
        <a:bodyPr/>
        <a:lstStyle/>
        <a:p>
          <a:endParaRPr lang="zh-TW" altLang="en-US"/>
        </a:p>
      </dgm:t>
    </dgm:pt>
    <dgm:pt modelId="{A2ABD330-7A5C-4352-AD0A-611067BBC3E4}">
      <dgm:prSet phldrT="[文字]" custT="1"/>
      <dgm:spPr/>
      <dgm:t>
        <a:bodyPr/>
        <a:lstStyle/>
        <a:p>
          <a:pPr algn="l">
            <a:lnSpc>
              <a:spcPct val="90000"/>
            </a:lnSpc>
          </a:pPr>
          <a:r>
            <a:rPr lang="en-US" altLang="zh-TW" sz="2800" b="1" dirty="0">
              <a:latin typeface="微軟正黑體" panose="020B0604030504040204" pitchFamily="34" charset="-120"/>
              <a:ea typeface="微軟正黑體" panose="020B0604030504040204" pitchFamily="34" charset="-120"/>
            </a:rPr>
            <a:t>     </a:t>
          </a:r>
          <a:r>
            <a:rPr lang="zh-TW" sz="2800" b="1" dirty="0">
              <a:latin typeface="微軟正黑體" panose="020B0604030504040204" pitchFamily="34" charset="-120"/>
              <a:ea typeface="微軟正黑體" panose="020B0604030504040204" pitchFamily="34" charset="-120"/>
            </a:rPr>
            <a:t>「成就每一個孩子—適性揚才、終身學習」</a:t>
          </a:r>
          <a:br>
            <a:rPr lang="en-US" altLang="zh-TW" sz="2800" b="1" dirty="0">
              <a:latin typeface="微軟正黑體" panose="020B0604030504040204" pitchFamily="34" charset="-120"/>
              <a:ea typeface="微軟正黑體" panose="020B0604030504040204" pitchFamily="34" charset="-120"/>
            </a:rPr>
          </a:br>
          <a:r>
            <a:rPr lang="zh-TW" sz="2400" dirty="0">
              <a:latin typeface="微軟正黑體" panose="020B0604030504040204" pitchFamily="34" charset="-120"/>
              <a:ea typeface="微軟正黑體" panose="020B0604030504040204" pitchFamily="34" charset="-120"/>
            </a:rPr>
            <a:t>以尊重學生生命主體為起點，透過適性教育，激發學生生命的喜悅與生活的自信，提升學生學習的渴望與創新的勇氣，善盡國民責任並展現共生智慧，成為具有社會適應力與應變力的終身學習者</a:t>
          </a:r>
          <a:endParaRPr lang="zh-TW" altLang="en-US" sz="24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A59EBCD0-57E8-4456-B224-61DB43AEEC87}" type="parTrans" cxnId="{165AC8CE-4FF8-485E-BEA0-18216D392B9B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F25229B6-6453-4881-8845-FC53A68F8914}" type="sibTrans" cxnId="{165AC8CE-4FF8-485E-BEA0-18216D392B9B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25B2FEA7-0A9E-4A59-9422-9552F3E5A09D}">
      <dgm:prSet phldrT="[文字]" custT="1"/>
      <dgm:spPr>
        <a:solidFill>
          <a:srgbClr val="FFC000"/>
        </a:solidFill>
      </dgm:spPr>
      <dgm:t>
        <a:bodyPr/>
        <a:lstStyle/>
        <a:p>
          <a:r>
            <a:rPr lang="zh-TW" altLang="en-US" sz="3200" b="1" dirty="0">
              <a:latin typeface="微軟正黑體" panose="020B0604030504040204" pitchFamily="34" charset="-120"/>
              <a:ea typeface="微軟正黑體" panose="020B0604030504040204" pitchFamily="34" charset="-120"/>
            </a:rPr>
            <a:t>互動</a:t>
          </a:r>
          <a:endParaRPr lang="en-US" altLang="zh-TW" sz="3200" b="1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4C930BF6-1E33-40AD-AE88-FDDBE489BDBD}" type="parTrans" cxnId="{C3FC4F13-89B5-4E2A-BE14-CEF0B1661518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654FBDCB-BC15-46AC-B041-A7C6C22FAEA1}" type="sibTrans" cxnId="{C3FC4F13-89B5-4E2A-BE14-CEF0B1661518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5FDB27F6-DBEF-4102-B2CD-27988E7FF3AB}">
      <dgm:prSet phldrT="[文字]" custT="1"/>
      <dgm:spPr/>
      <dgm:t>
        <a:bodyPr/>
        <a:lstStyle/>
        <a:p>
          <a:r>
            <a:rPr lang="zh-TW" altLang="en-US" sz="3200" b="1" dirty="0">
              <a:latin typeface="微軟正黑體" panose="020B0604030504040204" pitchFamily="34" charset="-120"/>
              <a:ea typeface="微軟正黑體" panose="020B0604030504040204" pitchFamily="34" charset="-120"/>
            </a:rPr>
            <a:t>共好</a:t>
          </a:r>
          <a:endParaRPr lang="en-US" altLang="zh-TW" sz="3200" b="1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C6502067-9874-42FC-93DB-29D814FC9B9F}" type="sibTrans" cxnId="{703BD2E2-BFDF-4AC7-9A80-5E01BD1638A3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3C2C16AF-5CBD-4F26-81A4-35C711118237}" type="parTrans" cxnId="{703BD2E2-BFDF-4AC7-9A80-5E01BD1638A3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5F79AD74-B41F-440C-A7BC-50E206430FAA}">
      <dgm:prSet phldrT="[文字]" custT="1"/>
      <dgm:spPr/>
      <dgm:t>
        <a:bodyPr/>
        <a:lstStyle/>
        <a:p>
          <a:r>
            <a:rPr lang="zh-TW" altLang="en-US" sz="3200" b="1" dirty="0">
              <a:latin typeface="微軟正黑體" panose="020B0604030504040204" pitchFamily="34" charset="-120"/>
              <a:ea typeface="微軟正黑體" panose="020B0604030504040204" pitchFamily="34" charset="-120"/>
            </a:rPr>
            <a:t>自發</a:t>
          </a:r>
          <a:endParaRPr lang="en-US" altLang="zh-TW" sz="3200" b="1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13078DC5-2947-4556-9261-D084CCE8DD68}" type="sibTrans" cxnId="{3C8F1693-EC3A-4DC3-A686-70F01F33DFDF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73C654F4-D436-42DB-AC1D-6390DB4DA0E0}" type="parTrans" cxnId="{3C8F1693-EC3A-4DC3-A686-70F01F33DFDF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3A9CEEBA-4B9D-4A5D-9F52-EED3C35E63C7}" type="pres">
      <dgm:prSet presAssocID="{6A4AA8E9-73F6-42EC-9E56-B62F2A0A4935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FAED976B-1818-482F-8ABF-4EA433423C3F}" type="pres">
      <dgm:prSet presAssocID="{A2ABD330-7A5C-4352-AD0A-611067BBC3E4}" presName="vertOne" presStyleCnt="0"/>
      <dgm:spPr/>
    </dgm:pt>
    <dgm:pt modelId="{14327142-CA6F-47F8-A0AF-3A1C6094EB0E}" type="pres">
      <dgm:prSet presAssocID="{A2ABD330-7A5C-4352-AD0A-611067BBC3E4}" presName="txOne" presStyleLbl="node0" presStyleIdx="0" presStyleCnt="1" custScaleX="97130" custScaleY="2000000" custLinFactY="1149443" custLinFactNeighborX="709" custLinFactNeighborY="1200000">
        <dgm:presLayoutVars>
          <dgm:chPref val="3"/>
        </dgm:presLayoutVars>
      </dgm:prSet>
      <dgm:spPr/>
    </dgm:pt>
    <dgm:pt modelId="{09262C3D-7ABC-4EA8-800D-425DED7BFF74}" type="pres">
      <dgm:prSet presAssocID="{A2ABD330-7A5C-4352-AD0A-611067BBC3E4}" presName="parTransOne" presStyleCnt="0"/>
      <dgm:spPr/>
    </dgm:pt>
    <dgm:pt modelId="{8CD33B24-1370-4935-BF79-95DA8B2D2EE1}" type="pres">
      <dgm:prSet presAssocID="{A2ABD330-7A5C-4352-AD0A-611067BBC3E4}" presName="horzOne" presStyleCnt="0"/>
      <dgm:spPr/>
    </dgm:pt>
    <dgm:pt modelId="{ACFF57A6-3B58-43FF-9A20-23F3165618EE}" type="pres">
      <dgm:prSet presAssocID="{5F79AD74-B41F-440C-A7BC-50E206430FAA}" presName="vertTwo" presStyleCnt="0"/>
      <dgm:spPr/>
    </dgm:pt>
    <dgm:pt modelId="{B07CEB32-E64A-455C-9879-D89AAD088263}" type="pres">
      <dgm:prSet presAssocID="{5F79AD74-B41F-440C-A7BC-50E206430FAA}" presName="txTwo" presStyleLbl="node2" presStyleIdx="0" presStyleCnt="2" custScaleX="28053" custScaleY="939962" custLinFactY="-900000" custLinFactNeighborX="-13787" custLinFactNeighborY="-956607">
        <dgm:presLayoutVars>
          <dgm:chPref val="3"/>
        </dgm:presLayoutVars>
      </dgm:prSet>
      <dgm:spPr/>
    </dgm:pt>
    <dgm:pt modelId="{53C68292-17B5-4427-8FC3-A70EF64289C2}" type="pres">
      <dgm:prSet presAssocID="{5F79AD74-B41F-440C-A7BC-50E206430FAA}" presName="horzTwo" presStyleCnt="0"/>
      <dgm:spPr/>
    </dgm:pt>
    <dgm:pt modelId="{FD5A08D2-AABF-46BA-AD1F-779F24E39E63}" type="pres">
      <dgm:prSet presAssocID="{13078DC5-2947-4556-9261-D084CCE8DD68}" presName="sibSpaceTwo" presStyleCnt="0"/>
      <dgm:spPr/>
    </dgm:pt>
    <dgm:pt modelId="{78CDB0CD-9E21-4C0E-A642-979EF0A57785}" type="pres">
      <dgm:prSet presAssocID="{25B2FEA7-0A9E-4A59-9422-9552F3E5A09D}" presName="vertTwo" presStyleCnt="0"/>
      <dgm:spPr/>
    </dgm:pt>
    <dgm:pt modelId="{CF90D5DA-8C17-44FB-AF78-FCBF43B1E0EB}" type="pres">
      <dgm:prSet presAssocID="{25B2FEA7-0A9E-4A59-9422-9552F3E5A09D}" presName="txTwo" presStyleLbl="node2" presStyleIdx="1" presStyleCnt="2" custScaleX="30724" custScaleY="1002739" custLinFactY="-1708598" custLinFactNeighborX="-17938" custLinFactNeighborY="-1800000">
        <dgm:presLayoutVars>
          <dgm:chPref val="3"/>
        </dgm:presLayoutVars>
      </dgm:prSet>
      <dgm:spPr/>
    </dgm:pt>
    <dgm:pt modelId="{3F4AD737-5C29-4C48-B368-75910140274D}" type="pres">
      <dgm:prSet presAssocID="{25B2FEA7-0A9E-4A59-9422-9552F3E5A09D}" presName="parTransTwo" presStyleCnt="0"/>
      <dgm:spPr/>
    </dgm:pt>
    <dgm:pt modelId="{E1118B29-ABDB-4341-9B3C-3A80EBB33EBB}" type="pres">
      <dgm:prSet presAssocID="{25B2FEA7-0A9E-4A59-9422-9552F3E5A09D}" presName="horzTwo" presStyleCnt="0"/>
      <dgm:spPr/>
    </dgm:pt>
    <dgm:pt modelId="{46C496AA-C525-4F01-A03F-03F4A60D9FD7}" type="pres">
      <dgm:prSet presAssocID="{5FDB27F6-DBEF-4102-B2CD-27988E7FF3AB}" presName="vertThree" presStyleCnt="0"/>
      <dgm:spPr/>
    </dgm:pt>
    <dgm:pt modelId="{14611A2B-767B-4E4B-B9C1-A9DF36CD909B}" type="pres">
      <dgm:prSet presAssocID="{5FDB27F6-DBEF-4102-B2CD-27988E7FF3AB}" presName="txThree" presStyleLbl="node3" presStyleIdx="0" presStyleCnt="1" custScaleX="26902" custScaleY="1035011" custLinFactY="-1400000" custLinFactNeighborX="16477" custLinFactNeighborY="-1467569">
        <dgm:presLayoutVars>
          <dgm:chPref val="3"/>
        </dgm:presLayoutVars>
      </dgm:prSet>
      <dgm:spPr/>
    </dgm:pt>
    <dgm:pt modelId="{93BAA3A6-FB9C-4E62-B0C4-C32A4B4C31F9}" type="pres">
      <dgm:prSet presAssocID="{5FDB27F6-DBEF-4102-B2CD-27988E7FF3AB}" presName="horzThree" presStyleCnt="0"/>
      <dgm:spPr/>
    </dgm:pt>
  </dgm:ptLst>
  <dgm:cxnLst>
    <dgm:cxn modelId="{C3FC4F13-89B5-4E2A-BE14-CEF0B1661518}" srcId="{A2ABD330-7A5C-4352-AD0A-611067BBC3E4}" destId="{25B2FEA7-0A9E-4A59-9422-9552F3E5A09D}" srcOrd="1" destOrd="0" parTransId="{4C930BF6-1E33-40AD-AE88-FDDBE489BDBD}" sibTransId="{654FBDCB-BC15-46AC-B041-A7C6C22FAEA1}"/>
    <dgm:cxn modelId="{ED4C401B-BBB5-4497-A21C-CCF79503A036}" type="presOf" srcId="{25B2FEA7-0A9E-4A59-9422-9552F3E5A09D}" destId="{CF90D5DA-8C17-44FB-AF78-FCBF43B1E0EB}" srcOrd="0" destOrd="0" presId="urn:microsoft.com/office/officeart/2005/8/layout/hierarchy4"/>
    <dgm:cxn modelId="{27217D27-8EE1-48B1-A53B-1F764B3B5724}" type="presOf" srcId="{5F79AD74-B41F-440C-A7BC-50E206430FAA}" destId="{B07CEB32-E64A-455C-9879-D89AAD088263}" srcOrd="0" destOrd="0" presId="urn:microsoft.com/office/officeart/2005/8/layout/hierarchy4"/>
    <dgm:cxn modelId="{BA4F8371-5436-423F-BAF5-431F0190AE18}" type="presOf" srcId="{5FDB27F6-DBEF-4102-B2CD-27988E7FF3AB}" destId="{14611A2B-767B-4E4B-B9C1-A9DF36CD909B}" srcOrd="0" destOrd="0" presId="urn:microsoft.com/office/officeart/2005/8/layout/hierarchy4"/>
    <dgm:cxn modelId="{3C8F1693-EC3A-4DC3-A686-70F01F33DFDF}" srcId="{A2ABD330-7A5C-4352-AD0A-611067BBC3E4}" destId="{5F79AD74-B41F-440C-A7BC-50E206430FAA}" srcOrd="0" destOrd="0" parTransId="{73C654F4-D436-42DB-AC1D-6390DB4DA0E0}" sibTransId="{13078DC5-2947-4556-9261-D084CCE8DD68}"/>
    <dgm:cxn modelId="{619727A2-362C-4BED-BA7D-2EDF0BAF6F70}" type="presOf" srcId="{6A4AA8E9-73F6-42EC-9E56-B62F2A0A4935}" destId="{3A9CEEBA-4B9D-4A5D-9F52-EED3C35E63C7}" srcOrd="0" destOrd="0" presId="urn:microsoft.com/office/officeart/2005/8/layout/hierarchy4"/>
    <dgm:cxn modelId="{165AC8CE-4FF8-485E-BEA0-18216D392B9B}" srcId="{6A4AA8E9-73F6-42EC-9E56-B62F2A0A4935}" destId="{A2ABD330-7A5C-4352-AD0A-611067BBC3E4}" srcOrd="0" destOrd="0" parTransId="{A59EBCD0-57E8-4456-B224-61DB43AEEC87}" sibTransId="{F25229B6-6453-4881-8845-FC53A68F8914}"/>
    <dgm:cxn modelId="{703BD2E2-BFDF-4AC7-9A80-5E01BD1638A3}" srcId="{25B2FEA7-0A9E-4A59-9422-9552F3E5A09D}" destId="{5FDB27F6-DBEF-4102-B2CD-27988E7FF3AB}" srcOrd="0" destOrd="0" parTransId="{3C2C16AF-5CBD-4F26-81A4-35C711118237}" sibTransId="{C6502067-9874-42FC-93DB-29D814FC9B9F}"/>
    <dgm:cxn modelId="{70FEFCE3-157D-419E-A6B3-4BDB33706B3D}" type="presOf" srcId="{A2ABD330-7A5C-4352-AD0A-611067BBC3E4}" destId="{14327142-CA6F-47F8-A0AF-3A1C6094EB0E}" srcOrd="0" destOrd="0" presId="urn:microsoft.com/office/officeart/2005/8/layout/hierarchy4"/>
    <dgm:cxn modelId="{FEC5F0AB-4497-467C-A69F-9F59E1B4BF9D}" type="presParOf" srcId="{3A9CEEBA-4B9D-4A5D-9F52-EED3C35E63C7}" destId="{FAED976B-1818-482F-8ABF-4EA433423C3F}" srcOrd="0" destOrd="0" presId="urn:microsoft.com/office/officeart/2005/8/layout/hierarchy4"/>
    <dgm:cxn modelId="{DD227542-D8CF-4F97-ADA6-384FD6D44138}" type="presParOf" srcId="{FAED976B-1818-482F-8ABF-4EA433423C3F}" destId="{14327142-CA6F-47F8-A0AF-3A1C6094EB0E}" srcOrd="0" destOrd="0" presId="urn:microsoft.com/office/officeart/2005/8/layout/hierarchy4"/>
    <dgm:cxn modelId="{71A758BD-B50D-4FD9-9935-6A46268C1FBE}" type="presParOf" srcId="{FAED976B-1818-482F-8ABF-4EA433423C3F}" destId="{09262C3D-7ABC-4EA8-800D-425DED7BFF74}" srcOrd="1" destOrd="0" presId="urn:microsoft.com/office/officeart/2005/8/layout/hierarchy4"/>
    <dgm:cxn modelId="{CB6D53B1-8473-47A9-80DE-3CFF2E203DB5}" type="presParOf" srcId="{FAED976B-1818-482F-8ABF-4EA433423C3F}" destId="{8CD33B24-1370-4935-BF79-95DA8B2D2EE1}" srcOrd="2" destOrd="0" presId="urn:microsoft.com/office/officeart/2005/8/layout/hierarchy4"/>
    <dgm:cxn modelId="{A2D0479E-C1B4-410F-B661-84F10BBF6C38}" type="presParOf" srcId="{8CD33B24-1370-4935-BF79-95DA8B2D2EE1}" destId="{ACFF57A6-3B58-43FF-9A20-23F3165618EE}" srcOrd="0" destOrd="0" presId="urn:microsoft.com/office/officeart/2005/8/layout/hierarchy4"/>
    <dgm:cxn modelId="{9127CF73-2879-4F34-98E2-722A10E1038A}" type="presParOf" srcId="{ACFF57A6-3B58-43FF-9A20-23F3165618EE}" destId="{B07CEB32-E64A-455C-9879-D89AAD088263}" srcOrd="0" destOrd="0" presId="urn:microsoft.com/office/officeart/2005/8/layout/hierarchy4"/>
    <dgm:cxn modelId="{64AE108A-8244-4B82-9238-60B4FA35C70D}" type="presParOf" srcId="{ACFF57A6-3B58-43FF-9A20-23F3165618EE}" destId="{53C68292-17B5-4427-8FC3-A70EF64289C2}" srcOrd="1" destOrd="0" presId="urn:microsoft.com/office/officeart/2005/8/layout/hierarchy4"/>
    <dgm:cxn modelId="{997407D6-C8CC-471D-99CD-5925BA523408}" type="presParOf" srcId="{8CD33B24-1370-4935-BF79-95DA8B2D2EE1}" destId="{FD5A08D2-AABF-46BA-AD1F-779F24E39E63}" srcOrd="1" destOrd="0" presId="urn:microsoft.com/office/officeart/2005/8/layout/hierarchy4"/>
    <dgm:cxn modelId="{71C42B72-A153-4103-B05F-D43D02BCF9B5}" type="presParOf" srcId="{8CD33B24-1370-4935-BF79-95DA8B2D2EE1}" destId="{78CDB0CD-9E21-4C0E-A642-979EF0A57785}" srcOrd="2" destOrd="0" presId="urn:microsoft.com/office/officeart/2005/8/layout/hierarchy4"/>
    <dgm:cxn modelId="{55DFBCF5-6821-4B64-84CB-DEA9B0DD48AA}" type="presParOf" srcId="{78CDB0CD-9E21-4C0E-A642-979EF0A57785}" destId="{CF90D5DA-8C17-44FB-AF78-FCBF43B1E0EB}" srcOrd="0" destOrd="0" presId="urn:microsoft.com/office/officeart/2005/8/layout/hierarchy4"/>
    <dgm:cxn modelId="{12732B53-19D6-4DE3-A61B-477105BB0BA2}" type="presParOf" srcId="{78CDB0CD-9E21-4C0E-A642-979EF0A57785}" destId="{3F4AD737-5C29-4C48-B368-75910140274D}" srcOrd="1" destOrd="0" presId="urn:microsoft.com/office/officeart/2005/8/layout/hierarchy4"/>
    <dgm:cxn modelId="{9504EE62-86A7-4974-9F04-CAF5050D7190}" type="presParOf" srcId="{78CDB0CD-9E21-4C0E-A642-979EF0A57785}" destId="{E1118B29-ABDB-4341-9B3C-3A80EBB33EBB}" srcOrd="2" destOrd="0" presId="urn:microsoft.com/office/officeart/2005/8/layout/hierarchy4"/>
    <dgm:cxn modelId="{FDB1A114-5155-4AA1-983B-2E142E39CA80}" type="presParOf" srcId="{E1118B29-ABDB-4341-9B3C-3A80EBB33EBB}" destId="{46C496AA-C525-4F01-A03F-03F4A60D9FD7}" srcOrd="0" destOrd="0" presId="urn:microsoft.com/office/officeart/2005/8/layout/hierarchy4"/>
    <dgm:cxn modelId="{FA8CC672-33F5-48EC-A16F-A09CB82F02CB}" type="presParOf" srcId="{46C496AA-C525-4F01-A03F-03F4A60D9FD7}" destId="{14611A2B-767B-4E4B-B9C1-A9DF36CD909B}" srcOrd="0" destOrd="0" presId="urn:microsoft.com/office/officeart/2005/8/layout/hierarchy4"/>
    <dgm:cxn modelId="{34107ECA-D5DA-4411-A366-60A1963766F6}" type="presParOf" srcId="{46C496AA-C525-4F01-A03F-03F4A60D9FD7}" destId="{93BAA3A6-FB9C-4E62-B0C4-C32A4B4C31F9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095C28BA-406E-4561-B8BC-498ADABDC0D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ECDBFA1-EF7D-461E-9D63-92FC34B5DDAB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國小社會</a:t>
          </a:r>
        </a:p>
      </dgm:t>
    </dgm:pt>
    <dgm:pt modelId="{3E33EC6A-60D2-4BBC-B616-D57BC33A7B6B}" type="parTrans" cxnId="{67C158B2-121F-4860-96B7-CD8F728CDAF8}">
      <dgm:prSet/>
      <dgm:spPr/>
      <dgm:t>
        <a:bodyPr/>
        <a:lstStyle/>
        <a:p>
          <a:endParaRPr lang="zh-TW" altLang="en-US"/>
        </a:p>
      </dgm:t>
    </dgm:pt>
    <dgm:pt modelId="{2B295AAF-EBCC-4FDB-B40E-37DDCF1B3D62}" type="sibTrans" cxnId="{67C158B2-121F-4860-96B7-CD8F728CDAF8}">
      <dgm:prSet/>
      <dgm:spPr/>
      <dgm:t>
        <a:bodyPr/>
        <a:lstStyle/>
        <a:p>
          <a:endParaRPr lang="zh-TW" altLang="en-US"/>
        </a:p>
      </dgm:t>
    </dgm:pt>
    <dgm:pt modelId="{A7D13E5D-DA28-4AF6-A0C2-74E219215308}">
      <dgm:prSet phldrT="[文字]" custT="1"/>
      <dgm:spPr>
        <a:solidFill>
          <a:srgbClr val="002060"/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歷史</a:t>
          </a:r>
        </a:p>
      </dgm:t>
    </dgm:pt>
    <dgm:pt modelId="{F5D9EE8C-1139-435B-95EF-CE25E7202D96}" type="parTrans" cxnId="{8E523374-9F2F-4543-9B4D-A5D30EEBF802}">
      <dgm:prSet/>
      <dgm:spPr/>
      <dgm:t>
        <a:bodyPr/>
        <a:lstStyle/>
        <a:p>
          <a:endParaRPr lang="zh-TW" altLang="en-US"/>
        </a:p>
      </dgm:t>
    </dgm:pt>
    <dgm:pt modelId="{E56C9457-CCF6-4AF7-8F5F-1B2A003C910E}" type="sibTrans" cxnId="{8E523374-9F2F-4543-9B4D-A5D30EEBF802}">
      <dgm:prSet/>
      <dgm:spPr/>
      <dgm:t>
        <a:bodyPr/>
        <a:lstStyle/>
        <a:p>
          <a:endParaRPr lang="zh-TW" altLang="en-US"/>
        </a:p>
      </dgm:t>
    </dgm:pt>
    <dgm:pt modelId="{133EF22E-82E5-4AA6-95B3-C413AE9C5E3E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地理</a:t>
          </a:r>
        </a:p>
      </dgm:t>
    </dgm:pt>
    <dgm:pt modelId="{8738B6EE-6FEB-44CB-898E-6C08195717FD}" type="parTrans" cxnId="{3E4FDD84-58E7-41DB-B066-425E9A223CC1}">
      <dgm:prSet/>
      <dgm:spPr/>
      <dgm:t>
        <a:bodyPr/>
        <a:lstStyle/>
        <a:p>
          <a:endParaRPr lang="zh-TW" altLang="en-US"/>
        </a:p>
      </dgm:t>
    </dgm:pt>
    <dgm:pt modelId="{47305C62-5638-438F-AD90-0F8FE6A7E43F}" type="sibTrans" cxnId="{3E4FDD84-58E7-41DB-B066-425E9A223CC1}">
      <dgm:prSet/>
      <dgm:spPr/>
      <dgm:t>
        <a:bodyPr/>
        <a:lstStyle/>
        <a:p>
          <a:endParaRPr lang="zh-TW" altLang="en-US"/>
        </a:p>
      </dgm:t>
    </dgm:pt>
    <dgm:pt modelId="{E2484C15-0B2F-4CFD-A601-FE9CD4F06C96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公民與社會</a:t>
          </a:r>
        </a:p>
      </dgm:t>
    </dgm:pt>
    <dgm:pt modelId="{F2EF54B8-6B3E-462C-8ED9-EF077DF4235B}" type="parTrans" cxnId="{308AC3CA-E9A6-4BDF-B74E-4E8632A8C58A}">
      <dgm:prSet/>
      <dgm:spPr/>
      <dgm:t>
        <a:bodyPr/>
        <a:lstStyle/>
        <a:p>
          <a:endParaRPr lang="zh-TW" altLang="en-US"/>
        </a:p>
      </dgm:t>
    </dgm:pt>
    <dgm:pt modelId="{1C3EA6C9-3500-4497-8C15-53E54F11797A}" type="sibTrans" cxnId="{308AC3CA-E9A6-4BDF-B74E-4E8632A8C58A}">
      <dgm:prSet/>
      <dgm:spPr/>
      <dgm:t>
        <a:bodyPr/>
        <a:lstStyle/>
        <a:p>
          <a:endParaRPr lang="zh-TW" altLang="en-US"/>
        </a:p>
      </dgm:t>
    </dgm:pt>
    <dgm:pt modelId="{34C03574-4681-4C05-B424-279561AA2530}" type="pres">
      <dgm:prSet presAssocID="{095C28BA-406E-4561-B8BC-498ADABDC0D5}" presName="Name0" presStyleCnt="0">
        <dgm:presLayoutVars>
          <dgm:dir/>
          <dgm:animLvl val="lvl"/>
          <dgm:resizeHandles val="exact"/>
        </dgm:presLayoutVars>
      </dgm:prSet>
      <dgm:spPr/>
    </dgm:pt>
    <dgm:pt modelId="{B861AB80-29D4-47A4-956C-7201E6448AEA}" type="pres">
      <dgm:prSet presAssocID="{BECDBFA1-EF7D-461E-9D63-92FC34B5DDA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4C54B3C6-E2F1-4089-BC0B-71BBBA8001DF}" type="pres">
      <dgm:prSet presAssocID="{2B295AAF-EBCC-4FDB-B40E-37DDCF1B3D62}" presName="parTxOnlySpace" presStyleCnt="0"/>
      <dgm:spPr/>
    </dgm:pt>
    <dgm:pt modelId="{B6EE1DFF-800C-4A7E-A5B3-B2A8664B6FB9}" type="pres">
      <dgm:prSet presAssocID="{A7D13E5D-DA28-4AF6-A0C2-74E219215308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273BA95-392E-4CDB-B7FD-FA73BF4E99C0}" type="pres">
      <dgm:prSet presAssocID="{E56C9457-CCF6-4AF7-8F5F-1B2A003C910E}" presName="parTxOnlySpace" presStyleCnt="0"/>
      <dgm:spPr/>
    </dgm:pt>
    <dgm:pt modelId="{5FB8DA8F-99A9-4822-8B47-9317B56FA977}" type="pres">
      <dgm:prSet presAssocID="{133EF22E-82E5-4AA6-95B3-C413AE9C5E3E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E24D931-9E68-43B4-9138-1B7A555CFC76}" type="pres">
      <dgm:prSet presAssocID="{47305C62-5638-438F-AD90-0F8FE6A7E43F}" presName="parTxOnlySpace" presStyleCnt="0"/>
      <dgm:spPr/>
    </dgm:pt>
    <dgm:pt modelId="{23C7B257-B1D5-43F5-AC4E-858CCCD23FD7}" type="pres">
      <dgm:prSet presAssocID="{E2484C15-0B2F-4CFD-A601-FE9CD4F06C96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0F6CD814-B40A-41F4-8558-24C57D3DFB79}" type="presOf" srcId="{E2484C15-0B2F-4CFD-A601-FE9CD4F06C96}" destId="{23C7B257-B1D5-43F5-AC4E-858CCCD23FD7}" srcOrd="0" destOrd="0" presId="urn:microsoft.com/office/officeart/2005/8/layout/chevron1"/>
    <dgm:cxn modelId="{F79B1E1D-59B3-4A0A-8CA5-705F76B9A522}" type="presOf" srcId="{095C28BA-406E-4561-B8BC-498ADABDC0D5}" destId="{34C03574-4681-4C05-B424-279561AA2530}" srcOrd="0" destOrd="0" presId="urn:microsoft.com/office/officeart/2005/8/layout/chevron1"/>
    <dgm:cxn modelId="{8E523374-9F2F-4543-9B4D-A5D30EEBF802}" srcId="{095C28BA-406E-4561-B8BC-498ADABDC0D5}" destId="{A7D13E5D-DA28-4AF6-A0C2-74E219215308}" srcOrd="1" destOrd="0" parTransId="{F5D9EE8C-1139-435B-95EF-CE25E7202D96}" sibTransId="{E56C9457-CCF6-4AF7-8F5F-1B2A003C910E}"/>
    <dgm:cxn modelId="{3E4FDD84-58E7-41DB-B066-425E9A223CC1}" srcId="{095C28BA-406E-4561-B8BC-498ADABDC0D5}" destId="{133EF22E-82E5-4AA6-95B3-C413AE9C5E3E}" srcOrd="2" destOrd="0" parTransId="{8738B6EE-6FEB-44CB-898E-6C08195717FD}" sibTransId="{47305C62-5638-438F-AD90-0F8FE6A7E43F}"/>
    <dgm:cxn modelId="{4E7B9093-3B15-4E81-BA37-934C4FF2931B}" type="presOf" srcId="{A7D13E5D-DA28-4AF6-A0C2-74E219215308}" destId="{B6EE1DFF-800C-4A7E-A5B3-B2A8664B6FB9}" srcOrd="0" destOrd="0" presId="urn:microsoft.com/office/officeart/2005/8/layout/chevron1"/>
    <dgm:cxn modelId="{E848819A-3D86-44C1-85F6-AE3D6A9CD16A}" type="presOf" srcId="{BECDBFA1-EF7D-461E-9D63-92FC34B5DDAB}" destId="{B861AB80-29D4-47A4-956C-7201E6448AEA}" srcOrd="0" destOrd="0" presId="urn:microsoft.com/office/officeart/2005/8/layout/chevron1"/>
    <dgm:cxn modelId="{67C158B2-121F-4860-96B7-CD8F728CDAF8}" srcId="{095C28BA-406E-4561-B8BC-498ADABDC0D5}" destId="{BECDBFA1-EF7D-461E-9D63-92FC34B5DDAB}" srcOrd="0" destOrd="0" parTransId="{3E33EC6A-60D2-4BBC-B616-D57BC33A7B6B}" sibTransId="{2B295AAF-EBCC-4FDB-B40E-37DDCF1B3D62}"/>
    <dgm:cxn modelId="{062024C8-5751-40E8-BE36-67E967BD8F68}" type="presOf" srcId="{133EF22E-82E5-4AA6-95B3-C413AE9C5E3E}" destId="{5FB8DA8F-99A9-4822-8B47-9317B56FA977}" srcOrd="0" destOrd="0" presId="urn:microsoft.com/office/officeart/2005/8/layout/chevron1"/>
    <dgm:cxn modelId="{308AC3CA-E9A6-4BDF-B74E-4E8632A8C58A}" srcId="{095C28BA-406E-4561-B8BC-498ADABDC0D5}" destId="{E2484C15-0B2F-4CFD-A601-FE9CD4F06C96}" srcOrd="3" destOrd="0" parTransId="{F2EF54B8-6B3E-462C-8ED9-EF077DF4235B}" sibTransId="{1C3EA6C9-3500-4497-8C15-53E54F11797A}"/>
    <dgm:cxn modelId="{3D7867F2-BE13-4ECC-8C79-5804D591AC4C}" type="presParOf" srcId="{34C03574-4681-4C05-B424-279561AA2530}" destId="{B861AB80-29D4-47A4-956C-7201E6448AEA}" srcOrd="0" destOrd="0" presId="urn:microsoft.com/office/officeart/2005/8/layout/chevron1"/>
    <dgm:cxn modelId="{9D64A82B-507C-470D-A59F-B72BF4A8035C}" type="presParOf" srcId="{34C03574-4681-4C05-B424-279561AA2530}" destId="{4C54B3C6-E2F1-4089-BC0B-71BBBA8001DF}" srcOrd="1" destOrd="0" presId="urn:microsoft.com/office/officeart/2005/8/layout/chevron1"/>
    <dgm:cxn modelId="{5D0AE1E1-AC78-4FD1-8EC5-3247D5EDFA1B}" type="presParOf" srcId="{34C03574-4681-4C05-B424-279561AA2530}" destId="{B6EE1DFF-800C-4A7E-A5B3-B2A8664B6FB9}" srcOrd="2" destOrd="0" presId="urn:microsoft.com/office/officeart/2005/8/layout/chevron1"/>
    <dgm:cxn modelId="{0C7C4F63-95E8-4CB8-ADA5-11C5A602EEA4}" type="presParOf" srcId="{34C03574-4681-4C05-B424-279561AA2530}" destId="{2273BA95-392E-4CDB-B7FD-FA73BF4E99C0}" srcOrd="3" destOrd="0" presId="urn:microsoft.com/office/officeart/2005/8/layout/chevron1"/>
    <dgm:cxn modelId="{E1818719-ACD7-4D22-BA40-962D5198D8FB}" type="presParOf" srcId="{34C03574-4681-4C05-B424-279561AA2530}" destId="{5FB8DA8F-99A9-4822-8B47-9317B56FA977}" srcOrd="4" destOrd="0" presId="urn:microsoft.com/office/officeart/2005/8/layout/chevron1"/>
    <dgm:cxn modelId="{837EB321-8A26-49B2-BA2C-C48D063E23C5}" type="presParOf" srcId="{34C03574-4681-4C05-B424-279561AA2530}" destId="{9E24D931-9E68-43B4-9138-1B7A555CFC76}" srcOrd="5" destOrd="0" presId="urn:microsoft.com/office/officeart/2005/8/layout/chevron1"/>
    <dgm:cxn modelId="{5D7B74E8-9F99-4F3A-82A5-F6C6C3BD1F61}" type="presParOf" srcId="{34C03574-4681-4C05-B424-279561AA2530}" destId="{23C7B257-B1D5-43F5-AC4E-858CCCD23FD7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095C28BA-406E-4561-B8BC-498ADABDC0D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ECDBFA1-EF7D-461E-9D63-92FC34B5DDAB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國小社會</a:t>
          </a:r>
        </a:p>
      </dgm:t>
    </dgm:pt>
    <dgm:pt modelId="{3E33EC6A-60D2-4BBC-B616-D57BC33A7B6B}" type="parTrans" cxnId="{67C158B2-121F-4860-96B7-CD8F728CDAF8}">
      <dgm:prSet/>
      <dgm:spPr/>
      <dgm:t>
        <a:bodyPr/>
        <a:lstStyle/>
        <a:p>
          <a:endParaRPr lang="zh-TW" altLang="en-US"/>
        </a:p>
      </dgm:t>
    </dgm:pt>
    <dgm:pt modelId="{2B295AAF-EBCC-4FDB-B40E-37DDCF1B3D62}" type="sibTrans" cxnId="{67C158B2-121F-4860-96B7-CD8F728CDAF8}">
      <dgm:prSet/>
      <dgm:spPr/>
      <dgm:t>
        <a:bodyPr/>
        <a:lstStyle/>
        <a:p>
          <a:endParaRPr lang="zh-TW" altLang="en-US"/>
        </a:p>
      </dgm:t>
    </dgm:pt>
    <dgm:pt modelId="{A7D13E5D-DA28-4AF6-A0C2-74E219215308}">
      <dgm:prSet phldrT="[文字]" custT="1"/>
      <dgm:spPr>
        <a:solidFill>
          <a:srgbClr val="002060"/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歷史</a:t>
          </a:r>
        </a:p>
      </dgm:t>
    </dgm:pt>
    <dgm:pt modelId="{F5D9EE8C-1139-435B-95EF-CE25E7202D96}" type="parTrans" cxnId="{8E523374-9F2F-4543-9B4D-A5D30EEBF802}">
      <dgm:prSet/>
      <dgm:spPr/>
      <dgm:t>
        <a:bodyPr/>
        <a:lstStyle/>
        <a:p>
          <a:endParaRPr lang="zh-TW" altLang="en-US"/>
        </a:p>
      </dgm:t>
    </dgm:pt>
    <dgm:pt modelId="{E56C9457-CCF6-4AF7-8F5F-1B2A003C910E}" type="sibTrans" cxnId="{8E523374-9F2F-4543-9B4D-A5D30EEBF802}">
      <dgm:prSet/>
      <dgm:spPr/>
      <dgm:t>
        <a:bodyPr/>
        <a:lstStyle/>
        <a:p>
          <a:endParaRPr lang="zh-TW" altLang="en-US"/>
        </a:p>
      </dgm:t>
    </dgm:pt>
    <dgm:pt modelId="{133EF22E-82E5-4AA6-95B3-C413AE9C5E3E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地理</a:t>
          </a:r>
        </a:p>
      </dgm:t>
    </dgm:pt>
    <dgm:pt modelId="{8738B6EE-6FEB-44CB-898E-6C08195717FD}" type="parTrans" cxnId="{3E4FDD84-58E7-41DB-B066-425E9A223CC1}">
      <dgm:prSet/>
      <dgm:spPr/>
      <dgm:t>
        <a:bodyPr/>
        <a:lstStyle/>
        <a:p>
          <a:endParaRPr lang="zh-TW" altLang="en-US"/>
        </a:p>
      </dgm:t>
    </dgm:pt>
    <dgm:pt modelId="{47305C62-5638-438F-AD90-0F8FE6A7E43F}" type="sibTrans" cxnId="{3E4FDD84-58E7-41DB-B066-425E9A223CC1}">
      <dgm:prSet/>
      <dgm:spPr/>
      <dgm:t>
        <a:bodyPr/>
        <a:lstStyle/>
        <a:p>
          <a:endParaRPr lang="zh-TW" altLang="en-US"/>
        </a:p>
      </dgm:t>
    </dgm:pt>
    <dgm:pt modelId="{E2484C15-0B2F-4CFD-A601-FE9CD4F06C96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公民與社會</a:t>
          </a:r>
        </a:p>
      </dgm:t>
    </dgm:pt>
    <dgm:pt modelId="{F2EF54B8-6B3E-462C-8ED9-EF077DF4235B}" type="parTrans" cxnId="{308AC3CA-E9A6-4BDF-B74E-4E8632A8C58A}">
      <dgm:prSet/>
      <dgm:spPr/>
      <dgm:t>
        <a:bodyPr/>
        <a:lstStyle/>
        <a:p>
          <a:endParaRPr lang="zh-TW" altLang="en-US"/>
        </a:p>
      </dgm:t>
    </dgm:pt>
    <dgm:pt modelId="{1C3EA6C9-3500-4497-8C15-53E54F11797A}" type="sibTrans" cxnId="{308AC3CA-E9A6-4BDF-B74E-4E8632A8C58A}">
      <dgm:prSet/>
      <dgm:spPr/>
      <dgm:t>
        <a:bodyPr/>
        <a:lstStyle/>
        <a:p>
          <a:endParaRPr lang="zh-TW" altLang="en-US"/>
        </a:p>
      </dgm:t>
    </dgm:pt>
    <dgm:pt modelId="{34C03574-4681-4C05-B424-279561AA2530}" type="pres">
      <dgm:prSet presAssocID="{095C28BA-406E-4561-B8BC-498ADABDC0D5}" presName="Name0" presStyleCnt="0">
        <dgm:presLayoutVars>
          <dgm:dir/>
          <dgm:animLvl val="lvl"/>
          <dgm:resizeHandles val="exact"/>
        </dgm:presLayoutVars>
      </dgm:prSet>
      <dgm:spPr/>
    </dgm:pt>
    <dgm:pt modelId="{B861AB80-29D4-47A4-956C-7201E6448AEA}" type="pres">
      <dgm:prSet presAssocID="{BECDBFA1-EF7D-461E-9D63-92FC34B5DDA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4C54B3C6-E2F1-4089-BC0B-71BBBA8001DF}" type="pres">
      <dgm:prSet presAssocID="{2B295AAF-EBCC-4FDB-B40E-37DDCF1B3D62}" presName="parTxOnlySpace" presStyleCnt="0"/>
      <dgm:spPr/>
    </dgm:pt>
    <dgm:pt modelId="{B6EE1DFF-800C-4A7E-A5B3-B2A8664B6FB9}" type="pres">
      <dgm:prSet presAssocID="{A7D13E5D-DA28-4AF6-A0C2-74E219215308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273BA95-392E-4CDB-B7FD-FA73BF4E99C0}" type="pres">
      <dgm:prSet presAssocID="{E56C9457-CCF6-4AF7-8F5F-1B2A003C910E}" presName="parTxOnlySpace" presStyleCnt="0"/>
      <dgm:spPr/>
    </dgm:pt>
    <dgm:pt modelId="{5FB8DA8F-99A9-4822-8B47-9317B56FA977}" type="pres">
      <dgm:prSet presAssocID="{133EF22E-82E5-4AA6-95B3-C413AE9C5E3E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E24D931-9E68-43B4-9138-1B7A555CFC76}" type="pres">
      <dgm:prSet presAssocID="{47305C62-5638-438F-AD90-0F8FE6A7E43F}" presName="parTxOnlySpace" presStyleCnt="0"/>
      <dgm:spPr/>
    </dgm:pt>
    <dgm:pt modelId="{23C7B257-B1D5-43F5-AC4E-858CCCD23FD7}" type="pres">
      <dgm:prSet presAssocID="{E2484C15-0B2F-4CFD-A601-FE9CD4F06C96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B4306D0B-7859-4688-A6CA-EC98C87528FA}" type="presOf" srcId="{E2484C15-0B2F-4CFD-A601-FE9CD4F06C96}" destId="{23C7B257-B1D5-43F5-AC4E-858CCCD23FD7}" srcOrd="0" destOrd="0" presId="urn:microsoft.com/office/officeart/2005/8/layout/chevron1"/>
    <dgm:cxn modelId="{8E523374-9F2F-4543-9B4D-A5D30EEBF802}" srcId="{095C28BA-406E-4561-B8BC-498ADABDC0D5}" destId="{A7D13E5D-DA28-4AF6-A0C2-74E219215308}" srcOrd="1" destOrd="0" parTransId="{F5D9EE8C-1139-435B-95EF-CE25E7202D96}" sibTransId="{E56C9457-CCF6-4AF7-8F5F-1B2A003C910E}"/>
    <dgm:cxn modelId="{3E4FDD84-58E7-41DB-B066-425E9A223CC1}" srcId="{095C28BA-406E-4561-B8BC-498ADABDC0D5}" destId="{133EF22E-82E5-4AA6-95B3-C413AE9C5E3E}" srcOrd="2" destOrd="0" parTransId="{8738B6EE-6FEB-44CB-898E-6C08195717FD}" sibTransId="{47305C62-5638-438F-AD90-0F8FE6A7E43F}"/>
    <dgm:cxn modelId="{AD0D0AA7-4408-4828-B3A6-6878DEA116BD}" type="presOf" srcId="{BECDBFA1-EF7D-461E-9D63-92FC34B5DDAB}" destId="{B861AB80-29D4-47A4-956C-7201E6448AEA}" srcOrd="0" destOrd="0" presId="urn:microsoft.com/office/officeart/2005/8/layout/chevron1"/>
    <dgm:cxn modelId="{565E8FAE-9551-4608-A5E8-CF49B3C9AC39}" type="presOf" srcId="{095C28BA-406E-4561-B8BC-498ADABDC0D5}" destId="{34C03574-4681-4C05-B424-279561AA2530}" srcOrd="0" destOrd="0" presId="urn:microsoft.com/office/officeart/2005/8/layout/chevron1"/>
    <dgm:cxn modelId="{67C158B2-121F-4860-96B7-CD8F728CDAF8}" srcId="{095C28BA-406E-4561-B8BC-498ADABDC0D5}" destId="{BECDBFA1-EF7D-461E-9D63-92FC34B5DDAB}" srcOrd="0" destOrd="0" parTransId="{3E33EC6A-60D2-4BBC-B616-D57BC33A7B6B}" sibTransId="{2B295AAF-EBCC-4FDB-B40E-37DDCF1B3D62}"/>
    <dgm:cxn modelId="{D9E9ADC1-B06B-4985-A89F-261D64421178}" type="presOf" srcId="{133EF22E-82E5-4AA6-95B3-C413AE9C5E3E}" destId="{5FB8DA8F-99A9-4822-8B47-9317B56FA977}" srcOrd="0" destOrd="0" presId="urn:microsoft.com/office/officeart/2005/8/layout/chevron1"/>
    <dgm:cxn modelId="{308AC3CA-E9A6-4BDF-B74E-4E8632A8C58A}" srcId="{095C28BA-406E-4561-B8BC-498ADABDC0D5}" destId="{E2484C15-0B2F-4CFD-A601-FE9CD4F06C96}" srcOrd="3" destOrd="0" parTransId="{F2EF54B8-6B3E-462C-8ED9-EF077DF4235B}" sibTransId="{1C3EA6C9-3500-4497-8C15-53E54F11797A}"/>
    <dgm:cxn modelId="{29F67CF1-D94F-4D18-A11F-E02CD3FDD490}" type="presOf" srcId="{A7D13E5D-DA28-4AF6-A0C2-74E219215308}" destId="{B6EE1DFF-800C-4A7E-A5B3-B2A8664B6FB9}" srcOrd="0" destOrd="0" presId="urn:microsoft.com/office/officeart/2005/8/layout/chevron1"/>
    <dgm:cxn modelId="{7CEAF3C2-30D4-4843-A05F-728BC15806D6}" type="presParOf" srcId="{34C03574-4681-4C05-B424-279561AA2530}" destId="{B861AB80-29D4-47A4-956C-7201E6448AEA}" srcOrd="0" destOrd="0" presId="urn:microsoft.com/office/officeart/2005/8/layout/chevron1"/>
    <dgm:cxn modelId="{4AD7A498-E75D-4BF4-BC05-D109B0F8E910}" type="presParOf" srcId="{34C03574-4681-4C05-B424-279561AA2530}" destId="{4C54B3C6-E2F1-4089-BC0B-71BBBA8001DF}" srcOrd="1" destOrd="0" presId="urn:microsoft.com/office/officeart/2005/8/layout/chevron1"/>
    <dgm:cxn modelId="{1212CD32-FA76-4730-A2DD-7C47CF662620}" type="presParOf" srcId="{34C03574-4681-4C05-B424-279561AA2530}" destId="{B6EE1DFF-800C-4A7E-A5B3-B2A8664B6FB9}" srcOrd="2" destOrd="0" presId="urn:microsoft.com/office/officeart/2005/8/layout/chevron1"/>
    <dgm:cxn modelId="{67A226B2-990E-40B9-A260-18A00E915AB0}" type="presParOf" srcId="{34C03574-4681-4C05-B424-279561AA2530}" destId="{2273BA95-392E-4CDB-B7FD-FA73BF4E99C0}" srcOrd="3" destOrd="0" presId="urn:microsoft.com/office/officeart/2005/8/layout/chevron1"/>
    <dgm:cxn modelId="{B930AC06-10F2-49EA-AD4A-320718D53BB3}" type="presParOf" srcId="{34C03574-4681-4C05-B424-279561AA2530}" destId="{5FB8DA8F-99A9-4822-8B47-9317B56FA977}" srcOrd="4" destOrd="0" presId="urn:microsoft.com/office/officeart/2005/8/layout/chevron1"/>
    <dgm:cxn modelId="{93C8BA02-931B-4F5D-BB31-458E4051ADF0}" type="presParOf" srcId="{34C03574-4681-4C05-B424-279561AA2530}" destId="{9E24D931-9E68-43B4-9138-1B7A555CFC76}" srcOrd="5" destOrd="0" presId="urn:microsoft.com/office/officeart/2005/8/layout/chevron1"/>
    <dgm:cxn modelId="{FC7238A8-D20A-46BA-9D81-F323423C0524}" type="presParOf" srcId="{34C03574-4681-4C05-B424-279561AA2530}" destId="{23C7B257-B1D5-43F5-AC4E-858CCCD23FD7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095C28BA-406E-4561-B8BC-498ADABDC0D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ECDBFA1-EF7D-461E-9D63-92FC34B5DDAB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國小社會</a:t>
          </a:r>
        </a:p>
      </dgm:t>
    </dgm:pt>
    <dgm:pt modelId="{3E33EC6A-60D2-4BBC-B616-D57BC33A7B6B}" type="parTrans" cxnId="{67C158B2-121F-4860-96B7-CD8F728CDAF8}">
      <dgm:prSet/>
      <dgm:spPr/>
      <dgm:t>
        <a:bodyPr/>
        <a:lstStyle/>
        <a:p>
          <a:endParaRPr lang="zh-TW" altLang="en-US"/>
        </a:p>
      </dgm:t>
    </dgm:pt>
    <dgm:pt modelId="{2B295AAF-EBCC-4FDB-B40E-37DDCF1B3D62}" type="sibTrans" cxnId="{67C158B2-121F-4860-96B7-CD8F728CDAF8}">
      <dgm:prSet/>
      <dgm:spPr/>
      <dgm:t>
        <a:bodyPr/>
        <a:lstStyle/>
        <a:p>
          <a:endParaRPr lang="zh-TW" altLang="en-US"/>
        </a:p>
      </dgm:t>
    </dgm:pt>
    <dgm:pt modelId="{A7D13E5D-DA28-4AF6-A0C2-74E219215308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歷史</a:t>
          </a:r>
        </a:p>
      </dgm:t>
    </dgm:pt>
    <dgm:pt modelId="{F5D9EE8C-1139-435B-95EF-CE25E7202D96}" type="parTrans" cxnId="{8E523374-9F2F-4543-9B4D-A5D30EEBF802}">
      <dgm:prSet/>
      <dgm:spPr/>
      <dgm:t>
        <a:bodyPr/>
        <a:lstStyle/>
        <a:p>
          <a:endParaRPr lang="zh-TW" altLang="en-US"/>
        </a:p>
      </dgm:t>
    </dgm:pt>
    <dgm:pt modelId="{E56C9457-CCF6-4AF7-8F5F-1B2A003C910E}" type="sibTrans" cxnId="{8E523374-9F2F-4543-9B4D-A5D30EEBF802}">
      <dgm:prSet/>
      <dgm:spPr/>
      <dgm:t>
        <a:bodyPr/>
        <a:lstStyle/>
        <a:p>
          <a:endParaRPr lang="zh-TW" altLang="en-US"/>
        </a:p>
      </dgm:t>
    </dgm:pt>
    <dgm:pt modelId="{133EF22E-82E5-4AA6-95B3-C413AE9C5E3E}">
      <dgm:prSet phldrT="[文字]" custT="1"/>
      <dgm:spPr>
        <a:solidFill>
          <a:srgbClr val="002060"/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地理</a:t>
          </a:r>
        </a:p>
      </dgm:t>
    </dgm:pt>
    <dgm:pt modelId="{8738B6EE-6FEB-44CB-898E-6C08195717FD}" type="parTrans" cxnId="{3E4FDD84-58E7-41DB-B066-425E9A223CC1}">
      <dgm:prSet/>
      <dgm:spPr/>
      <dgm:t>
        <a:bodyPr/>
        <a:lstStyle/>
        <a:p>
          <a:endParaRPr lang="zh-TW" altLang="en-US"/>
        </a:p>
      </dgm:t>
    </dgm:pt>
    <dgm:pt modelId="{47305C62-5638-438F-AD90-0F8FE6A7E43F}" type="sibTrans" cxnId="{3E4FDD84-58E7-41DB-B066-425E9A223CC1}">
      <dgm:prSet/>
      <dgm:spPr/>
      <dgm:t>
        <a:bodyPr/>
        <a:lstStyle/>
        <a:p>
          <a:endParaRPr lang="zh-TW" altLang="en-US"/>
        </a:p>
      </dgm:t>
    </dgm:pt>
    <dgm:pt modelId="{E2484C15-0B2F-4CFD-A601-FE9CD4F06C96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公民與社會</a:t>
          </a:r>
        </a:p>
      </dgm:t>
    </dgm:pt>
    <dgm:pt modelId="{F2EF54B8-6B3E-462C-8ED9-EF077DF4235B}" type="parTrans" cxnId="{308AC3CA-E9A6-4BDF-B74E-4E8632A8C58A}">
      <dgm:prSet/>
      <dgm:spPr/>
      <dgm:t>
        <a:bodyPr/>
        <a:lstStyle/>
        <a:p>
          <a:endParaRPr lang="zh-TW" altLang="en-US"/>
        </a:p>
      </dgm:t>
    </dgm:pt>
    <dgm:pt modelId="{1C3EA6C9-3500-4497-8C15-53E54F11797A}" type="sibTrans" cxnId="{308AC3CA-E9A6-4BDF-B74E-4E8632A8C58A}">
      <dgm:prSet/>
      <dgm:spPr/>
      <dgm:t>
        <a:bodyPr/>
        <a:lstStyle/>
        <a:p>
          <a:endParaRPr lang="zh-TW" altLang="en-US"/>
        </a:p>
      </dgm:t>
    </dgm:pt>
    <dgm:pt modelId="{34C03574-4681-4C05-B424-279561AA2530}" type="pres">
      <dgm:prSet presAssocID="{095C28BA-406E-4561-B8BC-498ADABDC0D5}" presName="Name0" presStyleCnt="0">
        <dgm:presLayoutVars>
          <dgm:dir/>
          <dgm:animLvl val="lvl"/>
          <dgm:resizeHandles val="exact"/>
        </dgm:presLayoutVars>
      </dgm:prSet>
      <dgm:spPr/>
    </dgm:pt>
    <dgm:pt modelId="{B861AB80-29D4-47A4-956C-7201E6448AEA}" type="pres">
      <dgm:prSet presAssocID="{BECDBFA1-EF7D-461E-9D63-92FC34B5DDA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4C54B3C6-E2F1-4089-BC0B-71BBBA8001DF}" type="pres">
      <dgm:prSet presAssocID="{2B295AAF-EBCC-4FDB-B40E-37DDCF1B3D62}" presName="parTxOnlySpace" presStyleCnt="0"/>
      <dgm:spPr/>
    </dgm:pt>
    <dgm:pt modelId="{B6EE1DFF-800C-4A7E-A5B3-B2A8664B6FB9}" type="pres">
      <dgm:prSet presAssocID="{A7D13E5D-DA28-4AF6-A0C2-74E219215308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273BA95-392E-4CDB-B7FD-FA73BF4E99C0}" type="pres">
      <dgm:prSet presAssocID="{E56C9457-CCF6-4AF7-8F5F-1B2A003C910E}" presName="parTxOnlySpace" presStyleCnt="0"/>
      <dgm:spPr/>
    </dgm:pt>
    <dgm:pt modelId="{5FB8DA8F-99A9-4822-8B47-9317B56FA977}" type="pres">
      <dgm:prSet presAssocID="{133EF22E-82E5-4AA6-95B3-C413AE9C5E3E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E24D931-9E68-43B4-9138-1B7A555CFC76}" type="pres">
      <dgm:prSet presAssocID="{47305C62-5638-438F-AD90-0F8FE6A7E43F}" presName="parTxOnlySpace" presStyleCnt="0"/>
      <dgm:spPr/>
    </dgm:pt>
    <dgm:pt modelId="{23C7B257-B1D5-43F5-AC4E-858CCCD23FD7}" type="pres">
      <dgm:prSet presAssocID="{E2484C15-0B2F-4CFD-A601-FE9CD4F06C96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6220D905-A677-4E85-B5A0-5E0A331CA537}" type="presOf" srcId="{BECDBFA1-EF7D-461E-9D63-92FC34B5DDAB}" destId="{B861AB80-29D4-47A4-956C-7201E6448AEA}" srcOrd="0" destOrd="0" presId="urn:microsoft.com/office/officeart/2005/8/layout/chevron1"/>
    <dgm:cxn modelId="{DCBAD429-A82C-4C1B-B827-B7A40A988D7A}" type="presOf" srcId="{A7D13E5D-DA28-4AF6-A0C2-74E219215308}" destId="{B6EE1DFF-800C-4A7E-A5B3-B2A8664B6FB9}" srcOrd="0" destOrd="0" presId="urn:microsoft.com/office/officeart/2005/8/layout/chevron1"/>
    <dgm:cxn modelId="{FDC74C2E-21BB-4720-BA61-8D375B036FFB}" type="presOf" srcId="{095C28BA-406E-4561-B8BC-498ADABDC0D5}" destId="{34C03574-4681-4C05-B424-279561AA2530}" srcOrd="0" destOrd="0" presId="urn:microsoft.com/office/officeart/2005/8/layout/chevron1"/>
    <dgm:cxn modelId="{8E523374-9F2F-4543-9B4D-A5D30EEBF802}" srcId="{095C28BA-406E-4561-B8BC-498ADABDC0D5}" destId="{A7D13E5D-DA28-4AF6-A0C2-74E219215308}" srcOrd="1" destOrd="0" parTransId="{F5D9EE8C-1139-435B-95EF-CE25E7202D96}" sibTransId="{E56C9457-CCF6-4AF7-8F5F-1B2A003C910E}"/>
    <dgm:cxn modelId="{3E4FDD84-58E7-41DB-B066-425E9A223CC1}" srcId="{095C28BA-406E-4561-B8BC-498ADABDC0D5}" destId="{133EF22E-82E5-4AA6-95B3-C413AE9C5E3E}" srcOrd="2" destOrd="0" parTransId="{8738B6EE-6FEB-44CB-898E-6C08195717FD}" sibTransId="{47305C62-5638-438F-AD90-0F8FE6A7E43F}"/>
    <dgm:cxn modelId="{67C158B2-121F-4860-96B7-CD8F728CDAF8}" srcId="{095C28BA-406E-4561-B8BC-498ADABDC0D5}" destId="{BECDBFA1-EF7D-461E-9D63-92FC34B5DDAB}" srcOrd="0" destOrd="0" parTransId="{3E33EC6A-60D2-4BBC-B616-D57BC33A7B6B}" sibTransId="{2B295AAF-EBCC-4FDB-B40E-37DDCF1B3D62}"/>
    <dgm:cxn modelId="{308AC3CA-E9A6-4BDF-B74E-4E8632A8C58A}" srcId="{095C28BA-406E-4561-B8BC-498ADABDC0D5}" destId="{E2484C15-0B2F-4CFD-A601-FE9CD4F06C96}" srcOrd="3" destOrd="0" parTransId="{F2EF54B8-6B3E-462C-8ED9-EF077DF4235B}" sibTransId="{1C3EA6C9-3500-4497-8C15-53E54F11797A}"/>
    <dgm:cxn modelId="{D4AB0AD2-0FB4-4B19-BA76-F79DC2B16EF5}" type="presOf" srcId="{E2484C15-0B2F-4CFD-A601-FE9CD4F06C96}" destId="{23C7B257-B1D5-43F5-AC4E-858CCCD23FD7}" srcOrd="0" destOrd="0" presId="urn:microsoft.com/office/officeart/2005/8/layout/chevron1"/>
    <dgm:cxn modelId="{6115E7F8-9792-40B8-AA69-8D1178056E34}" type="presOf" srcId="{133EF22E-82E5-4AA6-95B3-C413AE9C5E3E}" destId="{5FB8DA8F-99A9-4822-8B47-9317B56FA977}" srcOrd="0" destOrd="0" presId="urn:microsoft.com/office/officeart/2005/8/layout/chevron1"/>
    <dgm:cxn modelId="{BE0D4C43-94C1-46F1-A37F-20EEDBA7CF51}" type="presParOf" srcId="{34C03574-4681-4C05-B424-279561AA2530}" destId="{B861AB80-29D4-47A4-956C-7201E6448AEA}" srcOrd="0" destOrd="0" presId="urn:microsoft.com/office/officeart/2005/8/layout/chevron1"/>
    <dgm:cxn modelId="{5BF0D4B0-D358-47F1-9A3B-44C3C99DDDDD}" type="presParOf" srcId="{34C03574-4681-4C05-B424-279561AA2530}" destId="{4C54B3C6-E2F1-4089-BC0B-71BBBA8001DF}" srcOrd="1" destOrd="0" presId="urn:microsoft.com/office/officeart/2005/8/layout/chevron1"/>
    <dgm:cxn modelId="{821B8E4E-7CEE-4465-887F-239F3A8EB0BE}" type="presParOf" srcId="{34C03574-4681-4C05-B424-279561AA2530}" destId="{B6EE1DFF-800C-4A7E-A5B3-B2A8664B6FB9}" srcOrd="2" destOrd="0" presId="urn:microsoft.com/office/officeart/2005/8/layout/chevron1"/>
    <dgm:cxn modelId="{F925971A-8808-49D2-923E-1808E5686656}" type="presParOf" srcId="{34C03574-4681-4C05-B424-279561AA2530}" destId="{2273BA95-392E-4CDB-B7FD-FA73BF4E99C0}" srcOrd="3" destOrd="0" presId="urn:microsoft.com/office/officeart/2005/8/layout/chevron1"/>
    <dgm:cxn modelId="{D84D1246-C385-4E37-80D4-480CD51A27BC}" type="presParOf" srcId="{34C03574-4681-4C05-B424-279561AA2530}" destId="{5FB8DA8F-99A9-4822-8B47-9317B56FA977}" srcOrd="4" destOrd="0" presId="urn:microsoft.com/office/officeart/2005/8/layout/chevron1"/>
    <dgm:cxn modelId="{2F9ED281-3463-4F99-923B-0CE73CEB5F3B}" type="presParOf" srcId="{34C03574-4681-4C05-B424-279561AA2530}" destId="{9E24D931-9E68-43B4-9138-1B7A555CFC76}" srcOrd="5" destOrd="0" presId="urn:microsoft.com/office/officeart/2005/8/layout/chevron1"/>
    <dgm:cxn modelId="{EE606FD4-B454-4606-8C34-D9D68A667FC3}" type="presParOf" srcId="{34C03574-4681-4C05-B424-279561AA2530}" destId="{23C7B257-B1D5-43F5-AC4E-858CCCD23FD7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2465F69E-C933-D344-8336-994C2B8F5167}" type="doc">
      <dgm:prSet loTypeId="urn:microsoft.com/office/officeart/2005/8/layout/venn2" loCatId="" qsTypeId="urn:microsoft.com/office/officeart/2005/8/quickstyle/simple4" qsCatId="simple" csTypeId="urn:microsoft.com/office/officeart/2005/8/colors/colorful4" csCatId="colorful" phldr="1"/>
      <dgm:spPr/>
      <dgm:t>
        <a:bodyPr/>
        <a:lstStyle/>
        <a:p>
          <a:endParaRPr lang="zh-TW" altLang="en-US"/>
        </a:p>
      </dgm:t>
    </dgm:pt>
    <dgm:pt modelId="{7B14759A-4504-1549-BBFA-26DF313F3189}">
      <dgm:prSet phldrT="[文字]" custT="1"/>
      <dgm:spPr>
        <a:gradFill rotWithShape="0">
          <a:gsLst>
            <a:gs pos="0">
              <a:schemeClr val="accent4">
                <a:hueOff val="0"/>
                <a:satOff val="0"/>
                <a:lumOff val="0"/>
                <a:satMod val="103000"/>
                <a:lumMod val="102000"/>
                <a:tint val="94000"/>
                <a:alpha val="5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</a:gradFill>
      </dgm:spPr>
      <dgm:t>
        <a:bodyPr/>
        <a:lstStyle/>
        <a:p>
          <a:pPr algn="ctr"/>
          <a:r>
            <a:rPr lang="zh-TW" altLang="en-US" sz="2000" b="1" dirty="0">
              <a:solidFill>
                <a:schemeClr val="tx1"/>
              </a:solidFill>
              <a:latin typeface="標楷體" panose="03000509000000000000" pitchFamily="65" charset="-120"/>
              <a:ea typeface="標楷體" panose="03000509000000000000" pitchFamily="65" charset="-120"/>
              <a:cs typeface="Kaiti TC" charset="-120"/>
            </a:rPr>
            <a:t>地理視野</a:t>
          </a:r>
        </a:p>
      </dgm:t>
    </dgm:pt>
    <dgm:pt modelId="{D6A16229-A7A9-D143-9AE8-08AD011C6894}" type="parTrans" cxnId="{A9C783F3-2634-BE43-92B7-6D0C9DEDF5E8}">
      <dgm:prSet/>
      <dgm:spPr/>
      <dgm:t>
        <a:bodyPr/>
        <a:lstStyle/>
        <a:p>
          <a:endParaRPr lang="zh-TW" altLang="en-US"/>
        </a:p>
      </dgm:t>
    </dgm:pt>
    <dgm:pt modelId="{9ED471BA-5922-DC43-812D-5A78D4AE6492}" type="sibTrans" cxnId="{A9C783F3-2634-BE43-92B7-6D0C9DEDF5E8}">
      <dgm:prSet/>
      <dgm:spPr/>
      <dgm:t>
        <a:bodyPr/>
        <a:lstStyle/>
        <a:p>
          <a:endParaRPr lang="zh-TW" altLang="en-US"/>
        </a:p>
      </dgm:t>
    </dgm:pt>
    <dgm:pt modelId="{F67C856C-9EE4-E44B-BB59-BBFD69723A2B}">
      <dgm:prSet phldrT="[文字]" custT="1"/>
      <dgm:spPr>
        <a:gradFill rotWithShape="0">
          <a:gsLst>
            <a:gs pos="0">
              <a:schemeClr val="accent4">
                <a:hueOff val="5197846"/>
                <a:satOff val="-23984"/>
                <a:lumOff val="883"/>
                <a:satMod val="103000"/>
                <a:lumMod val="102000"/>
                <a:tint val="94000"/>
                <a:alpha val="58000"/>
              </a:schemeClr>
            </a:gs>
            <a:gs pos="50000">
              <a:schemeClr val="accent4">
                <a:hueOff val="5197846"/>
                <a:satOff val="-23984"/>
                <a:lumOff val="88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5197846"/>
                <a:satOff val="-23984"/>
                <a:lumOff val="883"/>
                <a:alphaOff val="0"/>
                <a:lumMod val="99000"/>
                <a:satMod val="120000"/>
                <a:shade val="78000"/>
              </a:schemeClr>
            </a:gs>
          </a:gsLst>
        </a:gradFill>
      </dgm:spPr>
      <dgm:t>
        <a:bodyPr/>
        <a:lstStyle/>
        <a:p>
          <a:r>
            <a:rPr lang="zh-TW" altLang="en-US" sz="2000" b="1" dirty="0">
              <a:solidFill>
                <a:schemeClr val="tx1"/>
              </a:solidFill>
              <a:latin typeface="標楷體" panose="03000509000000000000" pitchFamily="65" charset="-120"/>
              <a:ea typeface="標楷體" panose="03000509000000000000" pitchFamily="65" charset="-120"/>
              <a:cs typeface="Kaiti TC" charset="-120"/>
            </a:rPr>
            <a:t>地理系統</a:t>
          </a:r>
        </a:p>
      </dgm:t>
    </dgm:pt>
    <dgm:pt modelId="{831CE040-B6A0-2942-810E-9970AEFEE78A}" type="parTrans" cxnId="{2BF4BCFB-05CC-2840-AA99-B62646A42BE7}">
      <dgm:prSet/>
      <dgm:spPr/>
      <dgm:t>
        <a:bodyPr/>
        <a:lstStyle/>
        <a:p>
          <a:endParaRPr lang="zh-TW" altLang="en-US"/>
        </a:p>
      </dgm:t>
    </dgm:pt>
    <dgm:pt modelId="{3F34A821-10B1-FB41-920E-862CF3755366}" type="sibTrans" cxnId="{2BF4BCFB-05CC-2840-AA99-B62646A42BE7}">
      <dgm:prSet/>
      <dgm:spPr/>
      <dgm:t>
        <a:bodyPr/>
        <a:lstStyle/>
        <a:p>
          <a:endParaRPr lang="zh-TW" altLang="en-US"/>
        </a:p>
      </dgm:t>
    </dgm:pt>
    <dgm:pt modelId="{F558D98F-E662-C646-8E79-0933749FA245}">
      <dgm:prSet phldrT="[文字]" custT="1"/>
      <dgm:spPr>
        <a:gradFill rotWithShape="0">
          <a:gsLst>
            <a:gs pos="0">
              <a:schemeClr val="accent1">
                <a:lumMod val="40000"/>
                <a:lumOff val="60000"/>
              </a:schemeClr>
            </a:gs>
            <a:gs pos="50000">
              <a:schemeClr val="accent4">
                <a:hueOff val="10395692"/>
                <a:satOff val="-47968"/>
                <a:lumOff val="176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10395692"/>
                <a:satOff val="-47968"/>
                <a:lumOff val="1765"/>
                <a:alphaOff val="0"/>
                <a:lumMod val="99000"/>
                <a:satMod val="120000"/>
                <a:shade val="78000"/>
              </a:schemeClr>
            </a:gs>
          </a:gsLst>
        </a:gradFill>
      </dgm:spPr>
      <dgm:t>
        <a:bodyPr/>
        <a:lstStyle/>
        <a:p>
          <a:r>
            <a:rPr lang="zh-TW" altLang="en-US" sz="2000" b="1" dirty="0">
              <a:solidFill>
                <a:schemeClr val="bg1"/>
              </a:solidFill>
              <a:latin typeface="標楷體" panose="03000509000000000000" pitchFamily="65" charset="-120"/>
              <a:ea typeface="標楷體" panose="03000509000000000000" pitchFamily="65" charset="-120"/>
              <a:cs typeface="Kaiti TC" charset="-120"/>
            </a:rPr>
            <a:t>地理技能</a:t>
          </a:r>
        </a:p>
      </dgm:t>
    </dgm:pt>
    <dgm:pt modelId="{E6AB2E02-0711-CE44-9988-86DF07F5C7AC}" type="parTrans" cxnId="{88D5BDDF-1651-1445-BE0A-A15DE403AC03}">
      <dgm:prSet/>
      <dgm:spPr/>
      <dgm:t>
        <a:bodyPr/>
        <a:lstStyle/>
        <a:p>
          <a:endParaRPr lang="zh-TW" altLang="en-US"/>
        </a:p>
      </dgm:t>
    </dgm:pt>
    <dgm:pt modelId="{072D7789-DE47-7340-85D4-D962D8BF19E1}" type="sibTrans" cxnId="{88D5BDDF-1651-1445-BE0A-A15DE403AC03}">
      <dgm:prSet/>
      <dgm:spPr/>
      <dgm:t>
        <a:bodyPr/>
        <a:lstStyle/>
        <a:p>
          <a:endParaRPr lang="zh-TW" altLang="en-US"/>
        </a:p>
      </dgm:t>
    </dgm:pt>
    <dgm:pt modelId="{E6852441-F4B7-5542-B99C-2B0008CC5DA8}" type="pres">
      <dgm:prSet presAssocID="{2465F69E-C933-D344-8336-994C2B8F5167}" presName="Name0" presStyleCnt="0">
        <dgm:presLayoutVars>
          <dgm:chMax val="7"/>
          <dgm:resizeHandles val="exact"/>
        </dgm:presLayoutVars>
      </dgm:prSet>
      <dgm:spPr/>
    </dgm:pt>
    <dgm:pt modelId="{E02F2131-F554-0844-81B3-59660B81A46E}" type="pres">
      <dgm:prSet presAssocID="{2465F69E-C933-D344-8336-994C2B8F5167}" presName="comp1" presStyleCnt="0"/>
      <dgm:spPr/>
    </dgm:pt>
    <dgm:pt modelId="{81F33453-FA6B-DC40-AFE9-9DD572D7EA22}" type="pres">
      <dgm:prSet presAssocID="{2465F69E-C933-D344-8336-994C2B8F5167}" presName="circle1" presStyleLbl="node1" presStyleIdx="0" presStyleCnt="3" custScaleX="115427" custLinFactNeighborX="0" custLinFactNeighborY="-1488"/>
      <dgm:spPr/>
    </dgm:pt>
    <dgm:pt modelId="{2E3DD2B0-E0A1-E645-85C6-3107127A6B07}" type="pres">
      <dgm:prSet presAssocID="{2465F69E-C933-D344-8336-994C2B8F5167}" presName="c1text" presStyleLbl="node1" presStyleIdx="0" presStyleCnt="3">
        <dgm:presLayoutVars>
          <dgm:bulletEnabled val="1"/>
        </dgm:presLayoutVars>
      </dgm:prSet>
      <dgm:spPr/>
    </dgm:pt>
    <dgm:pt modelId="{3F0D2499-42AB-0F41-8DA1-CFC2EFCA6DA9}" type="pres">
      <dgm:prSet presAssocID="{2465F69E-C933-D344-8336-994C2B8F5167}" presName="comp2" presStyleCnt="0"/>
      <dgm:spPr/>
    </dgm:pt>
    <dgm:pt modelId="{56B11B1E-FDB4-CC45-AA8B-C75FBF736A1A}" type="pres">
      <dgm:prSet presAssocID="{2465F69E-C933-D344-8336-994C2B8F5167}" presName="circle2" presStyleLbl="node1" presStyleIdx="1" presStyleCnt="3" custScaleX="115866"/>
      <dgm:spPr/>
    </dgm:pt>
    <dgm:pt modelId="{4D5A5190-472F-6D45-BF11-F52E1A91E97F}" type="pres">
      <dgm:prSet presAssocID="{2465F69E-C933-D344-8336-994C2B8F5167}" presName="c2text" presStyleLbl="node1" presStyleIdx="1" presStyleCnt="3">
        <dgm:presLayoutVars>
          <dgm:bulletEnabled val="1"/>
        </dgm:presLayoutVars>
      </dgm:prSet>
      <dgm:spPr/>
    </dgm:pt>
    <dgm:pt modelId="{A17A7DDD-514E-2549-82BE-A77A8ED5BC6B}" type="pres">
      <dgm:prSet presAssocID="{2465F69E-C933-D344-8336-994C2B8F5167}" presName="comp3" presStyleCnt="0"/>
      <dgm:spPr/>
    </dgm:pt>
    <dgm:pt modelId="{2D77E7E9-39A8-4B45-AA2F-54D7A68D38F7}" type="pres">
      <dgm:prSet presAssocID="{2465F69E-C933-D344-8336-994C2B8F5167}" presName="circle3" presStyleLbl="node1" presStyleIdx="2" presStyleCnt="3" custScaleX="114081" custLinFactNeighborX="1454" custLinFactNeighborY="-2398"/>
      <dgm:spPr/>
    </dgm:pt>
    <dgm:pt modelId="{7B16354E-1C33-D945-B5F2-C3205B69D626}" type="pres">
      <dgm:prSet presAssocID="{2465F69E-C933-D344-8336-994C2B8F5167}" presName="c3text" presStyleLbl="node1" presStyleIdx="2" presStyleCnt="3">
        <dgm:presLayoutVars>
          <dgm:bulletEnabled val="1"/>
        </dgm:presLayoutVars>
      </dgm:prSet>
      <dgm:spPr/>
    </dgm:pt>
  </dgm:ptLst>
  <dgm:cxnLst>
    <dgm:cxn modelId="{BDA97053-4305-4D50-BDC1-B0A416BE28B7}" type="presOf" srcId="{2465F69E-C933-D344-8336-994C2B8F5167}" destId="{E6852441-F4B7-5542-B99C-2B0008CC5DA8}" srcOrd="0" destOrd="0" presId="urn:microsoft.com/office/officeart/2005/8/layout/venn2"/>
    <dgm:cxn modelId="{21F2917D-4B2B-4F35-A352-1FE4A4D3F4E7}" type="presOf" srcId="{F558D98F-E662-C646-8E79-0933749FA245}" destId="{2D77E7E9-39A8-4B45-AA2F-54D7A68D38F7}" srcOrd="0" destOrd="0" presId="urn:microsoft.com/office/officeart/2005/8/layout/venn2"/>
    <dgm:cxn modelId="{D7FE70DE-3B1A-48E2-BF59-4C76C92BEE67}" type="presOf" srcId="{F558D98F-E662-C646-8E79-0933749FA245}" destId="{7B16354E-1C33-D945-B5F2-C3205B69D626}" srcOrd="1" destOrd="0" presId="urn:microsoft.com/office/officeart/2005/8/layout/venn2"/>
    <dgm:cxn modelId="{88D5BDDF-1651-1445-BE0A-A15DE403AC03}" srcId="{2465F69E-C933-D344-8336-994C2B8F5167}" destId="{F558D98F-E662-C646-8E79-0933749FA245}" srcOrd="2" destOrd="0" parTransId="{E6AB2E02-0711-CE44-9988-86DF07F5C7AC}" sibTransId="{072D7789-DE47-7340-85D4-D962D8BF19E1}"/>
    <dgm:cxn modelId="{53A00AE4-0B00-4070-84E9-A9D4BAC6F48C}" type="presOf" srcId="{7B14759A-4504-1549-BBFA-26DF313F3189}" destId="{81F33453-FA6B-DC40-AFE9-9DD572D7EA22}" srcOrd="0" destOrd="0" presId="urn:microsoft.com/office/officeart/2005/8/layout/venn2"/>
    <dgm:cxn modelId="{A9C783F3-2634-BE43-92B7-6D0C9DEDF5E8}" srcId="{2465F69E-C933-D344-8336-994C2B8F5167}" destId="{7B14759A-4504-1549-BBFA-26DF313F3189}" srcOrd="0" destOrd="0" parTransId="{D6A16229-A7A9-D143-9AE8-08AD011C6894}" sibTransId="{9ED471BA-5922-DC43-812D-5A78D4AE6492}"/>
    <dgm:cxn modelId="{22965CF7-654A-4AA2-8EF8-0965D37AC04E}" type="presOf" srcId="{F67C856C-9EE4-E44B-BB59-BBFD69723A2B}" destId="{56B11B1E-FDB4-CC45-AA8B-C75FBF736A1A}" srcOrd="0" destOrd="0" presId="urn:microsoft.com/office/officeart/2005/8/layout/venn2"/>
    <dgm:cxn modelId="{55676AF8-FE5F-40E6-B689-224507FF53A3}" type="presOf" srcId="{F67C856C-9EE4-E44B-BB59-BBFD69723A2B}" destId="{4D5A5190-472F-6D45-BF11-F52E1A91E97F}" srcOrd="1" destOrd="0" presId="urn:microsoft.com/office/officeart/2005/8/layout/venn2"/>
    <dgm:cxn modelId="{2BF4BCFB-05CC-2840-AA99-B62646A42BE7}" srcId="{2465F69E-C933-D344-8336-994C2B8F5167}" destId="{F67C856C-9EE4-E44B-BB59-BBFD69723A2B}" srcOrd="1" destOrd="0" parTransId="{831CE040-B6A0-2942-810E-9970AEFEE78A}" sibTransId="{3F34A821-10B1-FB41-920E-862CF3755366}"/>
    <dgm:cxn modelId="{63BDCBFC-F6E1-41DE-A381-C01FC82374E6}" type="presOf" srcId="{7B14759A-4504-1549-BBFA-26DF313F3189}" destId="{2E3DD2B0-E0A1-E645-85C6-3107127A6B07}" srcOrd="1" destOrd="0" presId="urn:microsoft.com/office/officeart/2005/8/layout/venn2"/>
    <dgm:cxn modelId="{311CD0F6-6C79-4347-9B6A-B27A34364840}" type="presParOf" srcId="{E6852441-F4B7-5542-B99C-2B0008CC5DA8}" destId="{E02F2131-F554-0844-81B3-59660B81A46E}" srcOrd="0" destOrd="0" presId="urn:microsoft.com/office/officeart/2005/8/layout/venn2"/>
    <dgm:cxn modelId="{6B530E28-6EDA-4B48-B894-45B9259534D0}" type="presParOf" srcId="{E02F2131-F554-0844-81B3-59660B81A46E}" destId="{81F33453-FA6B-DC40-AFE9-9DD572D7EA22}" srcOrd="0" destOrd="0" presId="urn:microsoft.com/office/officeart/2005/8/layout/venn2"/>
    <dgm:cxn modelId="{BD6CFD22-46EE-4171-A829-0F0B46EB755F}" type="presParOf" srcId="{E02F2131-F554-0844-81B3-59660B81A46E}" destId="{2E3DD2B0-E0A1-E645-85C6-3107127A6B07}" srcOrd="1" destOrd="0" presId="urn:microsoft.com/office/officeart/2005/8/layout/venn2"/>
    <dgm:cxn modelId="{327DEE03-52D4-4905-8BB9-571CA649EB44}" type="presParOf" srcId="{E6852441-F4B7-5542-B99C-2B0008CC5DA8}" destId="{3F0D2499-42AB-0F41-8DA1-CFC2EFCA6DA9}" srcOrd="1" destOrd="0" presId="urn:microsoft.com/office/officeart/2005/8/layout/venn2"/>
    <dgm:cxn modelId="{00804D5B-196A-4E5A-9250-B61C475A38FE}" type="presParOf" srcId="{3F0D2499-42AB-0F41-8DA1-CFC2EFCA6DA9}" destId="{56B11B1E-FDB4-CC45-AA8B-C75FBF736A1A}" srcOrd="0" destOrd="0" presId="urn:microsoft.com/office/officeart/2005/8/layout/venn2"/>
    <dgm:cxn modelId="{7B4A5B76-D345-49D5-B715-D869B400AF98}" type="presParOf" srcId="{3F0D2499-42AB-0F41-8DA1-CFC2EFCA6DA9}" destId="{4D5A5190-472F-6D45-BF11-F52E1A91E97F}" srcOrd="1" destOrd="0" presId="urn:microsoft.com/office/officeart/2005/8/layout/venn2"/>
    <dgm:cxn modelId="{6B7994CC-CFB2-4CCA-91D5-048D111D2A6B}" type="presParOf" srcId="{E6852441-F4B7-5542-B99C-2B0008CC5DA8}" destId="{A17A7DDD-514E-2549-82BE-A77A8ED5BC6B}" srcOrd="2" destOrd="0" presId="urn:microsoft.com/office/officeart/2005/8/layout/venn2"/>
    <dgm:cxn modelId="{847C1995-4BC0-479F-AAFC-B209FD2058E9}" type="presParOf" srcId="{A17A7DDD-514E-2549-82BE-A77A8ED5BC6B}" destId="{2D77E7E9-39A8-4B45-AA2F-54D7A68D38F7}" srcOrd="0" destOrd="0" presId="urn:microsoft.com/office/officeart/2005/8/layout/venn2"/>
    <dgm:cxn modelId="{9BA434F3-7556-4FD6-AEC6-983A92F8FB2A}" type="presParOf" srcId="{A17A7DDD-514E-2549-82BE-A77A8ED5BC6B}" destId="{7B16354E-1C33-D945-B5F2-C3205B69D626}" srcOrd="1" destOrd="0" presId="urn:microsoft.com/office/officeart/2005/8/layout/venn2"/>
  </dgm:cxnLst>
  <dgm:bg>
    <a:solidFill>
      <a:schemeClr val="bg1">
        <a:alpha val="47000"/>
      </a:schemeClr>
    </a:solidFill>
  </dgm:bg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C615F7C1-4406-0E41-A124-F29B4F813ADC}" type="doc">
      <dgm:prSet loTypeId="urn:microsoft.com/office/officeart/2005/8/layout/vList2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zh-TW" altLang="en-US"/>
        </a:p>
      </dgm:t>
    </dgm:pt>
    <dgm:pt modelId="{C0C5D688-39CC-594E-861A-F291FE9E360D}">
      <dgm:prSet phldrT="[文字]" custT="1"/>
      <dgm:spPr>
        <a:gradFill rotWithShape="0">
          <a:gsLst>
            <a:gs pos="0">
              <a:schemeClr val="bg1"/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</dgm:spPr>
      <dgm:t>
        <a:bodyPr/>
        <a:lstStyle/>
        <a:p>
          <a:pPr algn="ctr"/>
          <a:r>
            <a:rPr lang="zh-TW" altLang="en-US" sz="2000" b="1" kern="1200" dirty="0">
              <a:solidFill>
                <a:schemeClr val="bg1"/>
              </a:solidFill>
              <a:latin typeface="標楷體" panose="03000509000000000000" pitchFamily="65" charset="-120"/>
              <a:ea typeface="標楷體" panose="03000509000000000000" pitchFamily="65" charset="-120"/>
              <a:cs typeface="Heiti TC Light" charset="-120"/>
            </a:rPr>
            <a:t>學科方法</a:t>
          </a:r>
        </a:p>
      </dgm:t>
    </dgm:pt>
    <dgm:pt modelId="{4B88E3A6-3EBB-9D40-BC54-E1EE308CBA26}" type="parTrans" cxnId="{687CB98F-7525-1B42-BBCC-29AB10729940}">
      <dgm:prSet/>
      <dgm:spPr/>
      <dgm:t>
        <a:bodyPr/>
        <a:lstStyle/>
        <a:p>
          <a:endParaRPr lang="zh-TW" altLang="en-US"/>
        </a:p>
      </dgm:t>
    </dgm:pt>
    <dgm:pt modelId="{7C0ECBEB-2E63-B94C-B2C9-3192C55142E0}" type="sibTrans" cxnId="{687CB98F-7525-1B42-BBCC-29AB10729940}">
      <dgm:prSet/>
      <dgm:spPr/>
      <dgm:t>
        <a:bodyPr/>
        <a:lstStyle/>
        <a:p>
          <a:endParaRPr lang="zh-TW" altLang="en-US"/>
        </a:p>
      </dgm:t>
    </dgm:pt>
    <dgm:pt modelId="{1B9DB491-A725-AD4C-838C-1EA6D5854413}">
      <dgm:prSet phldrT="[文字]"/>
      <dgm:spPr/>
      <dgm:t>
        <a:bodyPr/>
        <a:lstStyle/>
        <a:p>
          <a:r>
            <a:rPr lang="zh-TW" altLang="en-US" dirty="0">
              <a:latin typeface="標楷體" charset="-120"/>
              <a:ea typeface="標楷體" charset="-120"/>
            </a:rPr>
            <a:t>空間資訊科技</a:t>
          </a:r>
        </a:p>
      </dgm:t>
    </dgm:pt>
    <dgm:pt modelId="{BD684BFE-D04A-3A4E-B6BF-89A203BF1993}" type="parTrans" cxnId="{23E2953E-920A-4042-B4BF-60918A5E494A}">
      <dgm:prSet/>
      <dgm:spPr/>
      <dgm:t>
        <a:bodyPr/>
        <a:lstStyle/>
        <a:p>
          <a:endParaRPr lang="zh-TW" altLang="en-US"/>
        </a:p>
      </dgm:t>
    </dgm:pt>
    <dgm:pt modelId="{E503C171-3E3E-6F42-84E7-7ADE8397F441}" type="sibTrans" cxnId="{23E2953E-920A-4042-B4BF-60918A5E494A}">
      <dgm:prSet/>
      <dgm:spPr/>
      <dgm:t>
        <a:bodyPr/>
        <a:lstStyle/>
        <a:p>
          <a:endParaRPr lang="zh-TW" altLang="en-US"/>
        </a:p>
      </dgm:t>
    </dgm:pt>
    <dgm:pt modelId="{CE77B62C-6025-FD46-9CCB-79B2C66A8A8C}">
      <dgm:prSet phldrT="[文字]" custT="1"/>
      <dgm:spPr>
        <a:gradFill rotWithShape="0">
          <a:gsLst>
            <a:gs pos="0">
              <a:schemeClr val="bg1"/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</dgm:spPr>
      <dgm:t>
        <a:bodyPr/>
        <a:lstStyle/>
        <a:p>
          <a:pPr algn="ctr"/>
          <a:r>
            <a:rPr lang="zh-TW" altLang="en-US" sz="2000" b="1" kern="1200" dirty="0">
              <a:solidFill>
                <a:schemeClr val="bg1"/>
              </a:solidFill>
              <a:latin typeface="標楷體" panose="03000509000000000000" pitchFamily="65" charset="-120"/>
              <a:ea typeface="標楷體" panose="03000509000000000000" pitchFamily="65" charset="-120"/>
              <a:cs typeface="Heiti TC Light" charset="-120"/>
            </a:rPr>
            <a:t>議題探究</a:t>
          </a:r>
        </a:p>
      </dgm:t>
    </dgm:pt>
    <dgm:pt modelId="{6BD5F822-B1B9-C44B-8C51-F19E7EEC5934}" type="parTrans" cxnId="{DB9A894F-C379-994A-BBBF-0B339DDEFE0E}">
      <dgm:prSet/>
      <dgm:spPr/>
      <dgm:t>
        <a:bodyPr/>
        <a:lstStyle/>
        <a:p>
          <a:endParaRPr lang="zh-TW" altLang="en-US"/>
        </a:p>
      </dgm:t>
    </dgm:pt>
    <dgm:pt modelId="{F537A5C1-2374-AD49-A203-75AA0A2275DA}" type="sibTrans" cxnId="{DB9A894F-C379-994A-BBBF-0B339DDEFE0E}">
      <dgm:prSet/>
      <dgm:spPr/>
      <dgm:t>
        <a:bodyPr/>
        <a:lstStyle/>
        <a:p>
          <a:endParaRPr lang="zh-TW" altLang="en-US"/>
        </a:p>
      </dgm:t>
    </dgm:pt>
    <dgm:pt modelId="{F8E0DBD5-B275-284C-BAE8-DD7A5B818C17}">
      <dgm:prSet phldrT="[文字]"/>
      <dgm:spPr/>
      <dgm:t>
        <a:bodyPr/>
        <a:lstStyle/>
        <a:p>
          <a:r>
            <a:rPr lang="zh-TW" altLang="en-US" dirty="0">
              <a:latin typeface="標楷體" charset="-120"/>
              <a:ea typeface="標楷體" charset="-120"/>
            </a:rPr>
            <a:t>社會環境議題</a:t>
          </a:r>
        </a:p>
      </dgm:t>
    </dgm:pt>
    <dgm:pt modelId="{C935F5BE-0C6B-ED4B-A8E7-E7D742EC57E7}" type="parTrans" cxnId="{03F8E087-E791-9D4F-985B-E861F4782585}">
      <dgm:prSet/>
      <dgm:spPr/>
      <dgm:t>
        <a:bodyPr/>
        <a:lstStyle/>
        <a:p>
          <a:endParaRPr lang="zh-TW" altLang="en-US"/>
        </a:p>
      </dgm:t>
    </dgm:pt>
    <dgm:pt modelId="{7211096D-4E17-E247-AAD3-0EB926B389FD}" type="sibTrans" cxnId="{03F8E087-E791-9D4F-985B-E861F4782585}">
      <dgm:prSet/>
      <dgm:spPr/>
      <dgm:t>
        <a:bodyPr/>
        <a:lstStyle/>
        <a:p>
          <a:endParaRPr lang="zh-TW" altLang="en-US"/>
        </a:p>
      </dgm:t>
    </dgm:pt>
    <dgm:pt modelId="{62E31714-0D88-1E4D-9632-21010BCFCB44}">
      <dgm:prSet custT="1"/>
      <dgm:spPr>
        <a:gradFill rotWithShape="0">
          <a:gsLst>
            <a:gs pos="0">
              <a:schemeClr val="bg1"/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</dgm:spPr>
      <dgm:t>
        <a:bodyPr/>
        <a:lstStyle/>
        <a:p>
          <a:pPr algn="ctr"/>
          <a:r>
            <a:rPr lang="zh-TW" altLang="en-US" sz="2000" b="1" kern="1200" dirty="0">
              <a:solidFill>
                <a:schemeClr val="bg1"/>
              </a:solidFill>
              <a:latin typeface="標楷體" panose="03000509000000000000" pitchFamily="65" charset="-120"/>
              <a:ea typeface="標楷體" panose="03000509000000000000" pitchFamily="65" charset="-120"/>
              <a:cs typeface="Heiti TC Light" charset="-120"/>
            </a:rPr>
            <a:t>學科應用</a:t>
          </a:r>
        </a:p>
      </dgm:t>
    </dgm:pt>
    <dgm:pt modelId="{9CCB2C9E-0944-BD43-8623-1848BCC367E4}" type="parTrans" cxnId="{885EDDB8-B45C-B445-A3C0-1AD444258770}">
      <dgm:prSet/>
      <dgm:spPr/>
      <dgm:t>
        <a:bodyPr/>
        <a:lstStyle/>
        <a:p>
          <a:endParaRPr lang="zh-TW" altLang="en-US"/>
        </a:p>
      </dgm:t>
    </dgm:pt>
    <dgm:pt modelId="{0254126F-C8E4-494F-A419-C94F3FBD1949}" type="sibTrans" cxnId="{885EDDB8-B45C-B445-A3C0-1AD444258770}">
      <dgm:prSet/>
      <dgm:spPr/>
      <dgm:t>
        <a:bodyPr/>
        <a:lstStyle/>
        <a:p>
          <a:endParaRPr lang="zh-TW" altLang="en-US"/>
        </a:p>
      </dgm:t>
    </dgm:pt>
    <dgm:pt modelId="{E193F951-0C23-AC4B-9E83-687FD6044701}">
      <dgm:prSet/>
      <dgm:spPr/>
      <dgm:t>
        <a:bodyPr/>
        <a:lstStyle/>
        <a:p>
          <a:r>
            <a:rPr lang="zh-TW" altLang="en-US" dirty="0">
              <a:latin typeface="標楷體" charset="-120"/>
              <a:ea typeface="標楷體" charset="-120"/>
            </a:rPr>
            <a:t>探究與實作：地理與人文社會科學研究</a:t>
          </a:r>
          <a:endParaRPr lang="zh-TW" altLang="en-US" dirty="0"/>
        </a:p>
      </dgm:t>
    </dgm:pt>
    <dgm:pt modelId="{D0D0AE6C-D142-774D-96C4-EECB3D77B73E}" type="parTrans" cxnId="{7A126003-6734-E14D-BA4D-633E98F83BF2}">
      <dgm:prSet/>
      <dgm:spPr/>
      <dgm:t>
        <a:bodyPr/>
        <a:lstStyle/>
        <a:p>
          <a:endParaRPr lang="zh-TW" altLang="en-US"/>
        </a:p>
      </dgm:t>
    </dgm:pt>
    <dgm:pt modelId="{0E812D3E-BD8A-4F4E-8450-7988A1CAE6F7}" type="sibTrans" cxnId="{7A126003-6734-E14D-BA4D-633E98F83BF2}">
      <dgm:prSet/>
      <dgm:spPr/>
      <dgm:t>
        <a:bodyPr/>
        <a:lstStyle/>
        <a:p>
          <a:endParaRPr lang="zh-TW" altLang="en-US"/>
        </a:p>
      </dgm:t>
    </dgm:pt>
    <dgm:pt modelId="{F095A4EA-FBEA-C34A-AD4D-104C67D7B751}" type="pres">
      <dgm:prSet presAssocID="{C615F7C1-4406-0E41-A124-F29B4F813ADC}" presName="linear" presStyleCnt="0">
        <dgm:presLayoutVars>
          <dgm:animLvl val="lvl"/>
          <dgm:resizeHandles val="exact"/>
        </dgm:presLayoutVars>
      </dgm:prSet>
      <dgm:spPr/>
    </dgm:pt>
    <dgm:pt modelId="{B5E4AB8F-B5D0-C84A-A57F-4485E7DEAA3C}" type="pres">
      <dgm:prSet presAssocID="{C0C5D688-39CC-594E-861A-F291FE9E360D}" presName="parentText" presStyleLbl="node1" presStyleIdx="0" presStyleCnt="3" custLinFactNeighborY="-1505">
        <dgm:presLayoutVars>
          <dgm:chMax val="0"/>
          <dgm:bulletEnabled val="1"/>
        </dgm:presLayoutVars>
      </dgm:prSet>
      <dgm:spPr/>
    </dgm:pt>
    <dgm:pt modelId="{0A038112-84DE-BB4D-A07B-E63FDCE13779}" type="pres">
      <dgm:prSet presAssocID="{C0C5D688-39CC-594E-861A-F291FE9E360D}" presName="childText" presStyleLbl="revTx" presStyleIdx="0" presStyleCnt="3">
        <dgm:presLayoutVars>
          <dgm:bulletEnabled val="1"/>
        </dgm:presLayoutVars>
      </dgm:prSet>
      <dgm:spPr/>
    </dgm:pt>
    <dgm:pt modelId="{5CF87C5C-5341-8341-9930-50CD9D39058C}" type="pres">
      <dgm:prSet presAssocID="{CE77B62C-6025-FD46-9CCB-79B2C66A8A8C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64D36DC0-DF12-9745-9257-B1BA44156B09}" type="pres">
      <dgm:prSet presAssocID="{CE77B62C-6025-FD46-9CCB-79B2C66A8A8C}" presName="childText" presStyleLbl="revTx" presStyleIdx="1" presStyleCnt="3">
        <dgm:presLayoutVars>
          <dgm:bulletEnabled val="1"/>
        </dgm:presLayoutVars>
      </dgm:prSet>
      <dgm:spPr/>
    </dgm:pt>
    <dgm:pt modelId="{5A2D86B6-F3AD-4149-9F94-86044E05940C}" type="pres">
      <dgm:prSet presAssocID="{62E31714-0D88-1E4D-9632-21010BCFCB44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6D920D0E-E2DC-FB46-AB1E-6027AC8F0D84}" type="pres">
      <dgm:prSet presAssocID="{62E31714-0D88-1E4D-9632-21010BCFCB44}" presName="childText" presStyleLbl="revTx" presStyleIdx="2" presStyleCnt="3">
        <dgm:presLayoutVars>
          <dgm:bulletEnabled val="1"/>
        </dgm:presLayoutVars>
      </dgm:prSet>
      <dgm:spPr/>
    </dgm:pt>
  </dgm:ptLst>
  <dgm:cxnLst>
    <dgm:cxn modelId="{7A126003-6734-E14D-BA4D-633E98F83BF2}" srcId="{62E31714-0D88-1E4D-9632-21010BCFCB44}" destId="{E193F951-0C23-AC4B-9E83-687FD6044701}" srcOrd="0" destOrd="0" parTransId="{D0D0AE6C-D142-774D-96C4-EECB3D77B73E}" sibTransId="{0E812D3E-BD8A-4F4E-8450-7988A1CAE6F7}"/>
    <dgm:cxn modelId="{23E2953E-920A-4042-B4BF-60918A5E494A}" srcId="{C0C5D688-39CC-594E-861A-F291FE9E360D}" destId="{1B9DB491-A725-AD4C-838C-1EA6D5854413}" srcOrd="0" destOrd="0" parTransId="{BD684BFE-D04A-3A4E-B6BF-89A203BF1993}" sibTransId="{E503C171-3E3E-6F42-84E7-7ADE8397F441}"/>
    <dgm:cxn modelId="{CF90913F-C140-4BFE-A374-C560B31ABD63}" type="presOf" srcId="{E193F951-0C23-AC4B-9E83-687FD6044701}" destId="{6D920D0E-E2DC-FB46-AB1E-6027AC8F0D84}" srcOrd="0" destOrd="0" presId="urn:microsoft.com/office/officeart/2005/8/layout/vList2"/>
    <dgm:cxn modelId="{DB9A894F-C379-994A-BBBF-0B339DDEFE0E}" srcId="{C615F7C1-4406-0E41-A124-F29B4F813ADC}" destId="{CE77B62C-6025-FD46-9CCB-79B2C66A8A8C}" srcOrd="1" destOrd="0" parTransId="{6BD5F822-B1B9-C44B-8C51-F19E7EEC5934}" sibTransId="{F537A5C1-2374-AD49-A203-75AA0A2275DA}"/>
    <dgm:cxn modelId="{03F8E087-E791-9D4F-985B-E861F4782585}" srcId="{CE77B62C-6025-FD46-9CCB-79B2C66A8A8C}" destId="{F8E0DBD5-B275-284C-BAE8-DD7A5B818C17}" srcOrd="0" destOrd="0" parTransId="{C935F5BE-0C6B-ED4B-A8E7-E7D742EC57E7}" sibTransId="{7211096D-4E17-E247-AAD3-0EB926B389FD}"/>
    <dgm:cxn modelId="{687CB98F-7525-1B42-BBCC-29AB10729940}" srcId="{C615F7C1-4406-0E41-A124-F29B4F813ADC}" destId="{C0C5D688-39CC-594E-861A-F291FE9E360D}" srcOrd="0" destOrd="0" parTransId="{4B88E3A6-3EBB-9D40-BC54-E1EE308CBA26}" sibTransId="{7C0ECBEB-2E63-B94C-B2C9-3192C55142E0}"/>
    <dgm:cxn modelId="{8040D0A0-E4FB-4F07-86EF-6C6C65B2490A}" type="presOf" srcId="{1B9DB491-A725-AD4C-838C-1EA6D5854413}" destId="{0A038112-84DE-BB4D-A07B-E63FDCE13779}" srcOrd="0" destOrd="0" presId="urn:microsoft.com/office/officeart/2005/8/layout/vList2"/>
    <dgm:cxn modelId="{235868A1-EFE3-4AE1-B569-DDD4D3A8BEBE}" type="presOf" srcId="{C615F7C1-4406-0E41-A124-F29B4F813ADC}" destId="{F095A4EA-FBEA-C34A-AD4D-104C67D7B751}" srcOrd="0" destOrd="0" presId="urn:microsoft.com/office/officeart/2005/8/layout/vList2"/>
    <dgm:cxn modelId="{885EDDB8-B45C-B445-A3C0-1AD444258770}" srcId="{C615F7C1-4406-0E41-A124-F29B4F813ADC}" destId="{62E31714-0D88-1E4D-9632-21010BCFCB44}" srcOrd="2" destOrd="0" parTransId="{9CCB2C9E-0944-BD43-8623-1848BCC367E4}" sibTransId="{0254126F-C8E4-494F-A419-C94F3FBD1949}"/>
    <dgm:cxn modelId="{3181F3BF-A165-4880-9D99-DEF007D58375}" type="presOf" srcId="{C0C5D688-39CC-594E-861A-F291FE9E360D}" destId="{B5E4AB8F-B5D0-C84A-A57F-4485E7DEAA3C}" srcOrd="0" destOrd="0" presId="urn:microsoft.com/office/officeart/2005/8/layout/vList2"/>
    <dgm:cxn modelId="{AB8FBFCC-3F49-48C5-81B9-52DE257E6F80}" type="presOf" srcId="{CE77B62C-6025-FD46-9CCB-79B2C66A8A8C}" destId="{5CF87C5C-5341-8341-9930-50CD9D39058C}" srcOrd="0" destOrd="0" presId="urn:microsoft.com/office/officeart/2005/8/layout/vList2"/>
    <dgm:cxn modelId="{ACA3D7E9-A3D2-4AB3-9902-301C5BB36224}" type="presOf" srcId="{F8E0DBD5-B275-284C-BAE8-DD7A5B818C17}" destId="{64D36DC0-DF12-9745-9257-B1BA44156B09}" srcOrd="0" destOrd="0" presId="urn:microsoft.com/office/officeart/2005/8/layout/vList2"/>
    <dgm:cxn modelId="{182E8BFC-06F6-4294-9B8D-E1249FB1E749}" type="presOf" srcId="{62E31714-0D88-1E4D-9632-21010BCFCB44}" destId="{5A2D86B6-F3AD-4149-9F94-86044E05940C}" srcOrd="0" destOrd="0" presId="urn:microsoft.com/office/officeart/2005/8/layout/vList2"/>
    <dgm:cxn modelId="{64BE7EB9-A8E9-481D-90F2-5BDFB353D869}" type="presParOf" srcId="{F095A4EA-FBEA-C34A-AD4D-104C67D7B751}" destId="{B5E4AB8F-B5D0-C84A-A57F-4485E7DEAA3C}" srcOrd="0" destOrd="0" presId="urn:microsoft.com/office/officeart/2005/8/layout/vList2"/>
    <dgm:cxn modelId="{4260C27C-49C5-4006-8320-F1CE8575F0A1}" type="presParOf" srcId="{F095A4EA-FBEA-C34A-AD4D-104C67D7B751}" destId="{0A038112-84DE-BB4D-A07B-E63FDCE13779}" srcOrd="1" destOrd="0" presId="urn:microsoft.com/office/officeart/2005/8/layout/vList2"/>
    <dgm:cxn modelId="{88ECFC7B-6D45-4AE1-AB2F-DDE2ECF80BE3}" type="presParOf" srcId="{F095A4EA-FBEA-C34A-AD4D-104C67D7B751}" destId="{5CF87C5C-5341-8341-9930-50CD9D39058C}" srcOrd="2" destOrd="0" presId="urn:microsoft.com/office/officeart/2005/8/layout/vList2"/>
    <dgm:cxn modelId="{54990C73-D4CB-4CD1-9225-7CB7A9FD7F96}" type="presParOf" srcId="{F095A4EA-FBEA-C34A-AD4D-104C67D7B751}" destId="{64D36DC0-DF12-9745-9257-B1BA44156B09}" srcOrd="3" destOrd="0" presId="urn:microsoft.com/office/officeart/2005/8/layout/vList2"/>
    <dgm:cxn modelId="{8B444AEB-C4C9-43C1-88FD-29AF0EFD0D5A}" type="presParOf" srcId="{F095A4EA-FBEA-C34A-AD4D-104C67D7B751}" destId="{5A2D86B6-F3AD-4149-9F94-86044E05940C}" srcOrd="4" destOrd="0" presId="urn:microsoft.com/office/officeart/2005/8/layout/vList2"/>
    <dgm:cxn modelId="{AE8C8623-9B53-410B-BF6E-24DD9A30C71B}" type="presParOf" srcId="{F095A4EA-FBEA-C34A-AD4D-104C67D7B751}" destId="{6D920D0E-E2DC-FB46-AB1E-6027AC8F0D84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095C28BA-406E-4561-B8BC-498ADABDC0D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ECDBFA1-EF7D-461E-9D63-92FC34B5DDAB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國小社會</a:t>
          </a:r>
        </a:p>
      </dgm:t>
    </dgm:pt>
    <dgm:pt modelId="{3E33EC6A-60D2-4BBC-B616-D57BC33A7B6B}" type="parTrans" cxnId="{67C158B2-121F-4860-96B7-CD8F728CDAF8}">
      <dgm:prSet/>
      <dgm:spPr/>
      <dgm:t>
        <a:bodyPr/>
        <a:lstStyle/>
        <a:p>
          <a:endParaRPr lang="zh-TW" altLang="en-US"/>
        </a:p>
      </dgm:t>
    </dgm:pt>
    <dgm:pt modelId="{2B295AAF-EBCC-4FDB-B40E-37DDCF1B3D62}" type="sibTrans" cxnId="{67C158B2-121F-4860-96B7-CD8F728CDAF8}">
      <dgm:prSet/>
      <dgm:spPr/>
      <dgm:t>
        <a:bodyPr/>
        <a:lstStyle/>
        <a:p>
          <a:endParaRPr lang="zh-TW" altLang="en-US"/>
        </a:p>
      </dgm:t>
    </dgm:pt>
    <dgm:pt modelId="{A7D13E5D-DA28-4AF6-A0C2-74E219215308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歷史</a:t>
          </a:r>
        </a:p>
      </dgm:t>
    </dgm:pt>
    <dgm:pt modelId="{F5D9EE8C-1139-435B-95EF-CE25E7202D96}" type="parTrans" cxnId="{8E523374-9F2F-4543-9B4D-A5D30EEBF802}">
      <dgm:prSet/>
      <dgm:spPr/>
      <dgm:t>
        <a:bodyPr/>
        <a:lstStyle/>
        <a:p>
          <a:endParaRPr lang="zh-TW" altLang="en-US"/>
        </a:p>
      </dgm:t>
    </dgm:pt>
    <dgm:pt modelId="{E56C9457-CCF6-4AF7-8F5F-1B2A003C910E}" type="sibTrans" cxnId="{8E523374-9F2F-4543-9B4D-A5D30EEBF802}">
      <dgm:prSet/>
      <dgm:spPr/>
      <dgm:t>
        <a:bodyPr/>
        <a:lstStyle/>
        <a:p>
          <a:endParaRPr lang="zh-TW" altLang="en-US"/>
        </a:p>
      </dgm:t>
    </dgm:pt>
    <dgm:pt modelId="{133EF22E-82E5-4AA6-95B3-C413AE9C5E3E}">
      <dgm:prSet phldrT="[文字]" custT="1"/>
      <dgm:spPr>
        <a:solidFill>
          <a:srgbClr val="002060"/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地理</a:t>
          </a:r>
        </a:p>
      </dgm:t>
    </dgm:pt>
    <dgm:pt modelId="{8738B6EE-6FEB-44CB-898E-6C08195717FD}" type="parTrans" cxnId="{3E4FDD84-58E7-41DB-B066-425E9A223CC1}">
      <dgm:prSet/>
      <dgm:spPr/>
      <dgm:t>
        <a:bodyPr/>
        <a:lstStyle/>
        <a:p>
          <a:endParaRPr lang="zh-TW" altLang="en-US"/>
        </a:p>
      </dgm:t>
    </dgm:pt>
    <dgm:pt modelId="{47305C62-5638-438F-AD90-0F8FE6A7E43F}" type="sibTrans" cxnId="{3E4FDD84-58E7-41DB-B066-425E9A223CC1}">
      <dgm:prSet/>
      <dgm:spPr/>
      <dgm:t>
        <a:bodyPr/>
        <a:lstStyle/>
        <a:p>
          <a:endParaRPr lang="zh-TW" altLang="en-US"/>
        </a:p>
      </dgm:t>
    </dgm:pt>
    <dgm:pt modelId="{E2484C15-0B2F-4CFD-A601-FE9CD4F06C96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公民與社會</a:t>
          </a:r>
        </a:p>
      </dgm:t>
    </dgm:pt>
    <dgm:pt modelId="{F2EF54B8-6B3E-462C-8ED9-EF077DF4235B}" type="parTrans" cxnId="{308AC3CA-E9A6-4BDF-B74E-4E8632A8C58A}">
      <dgm:prSet/>
      <dgm:spPr/>
      <dgm:t>
        <a:bodyPr/>
        <a:lstStyle/>
        <a:p>
          <a:endParaRPr lang="zh-TW" altLang="en-US"/>
        </a:p>
      </dgm:t>
    </dgm:pt>
    <dgm:pt modelId="{1C3EA6C9-3500-4497-8C15-53E54F11797A}" type="sibTrans" cxnId="{308AC3CA-E9A6-4BDF-B74E-4E8632A8C58A}">
      <dgm:prSet/>
      <dgm:spPr/>
      <dgm:t>
        <a:bodyPr/>
        <a:lstStyle/>
        <a:p>
          <a:endParaRPr lang="zh-TW" altLang="en-US"/>
        </a:p>
      </dgm:t>
    </dgm:pt>
    <dgm:pt modelId="{34C03574-4681-4C05-B424-279561AA2530}" type="pres">
      <dgm:prSet presAssocID="{095C28BA-406E-4561-B8BC-498ADABDC0D5}" presName="Name0" presStyleCnt="0">
        <dgm:presLayoutVars>
          <dgm:dir/>
          <dgm:animLvl val="lvl"/>
          <dgm:resizeHandles val="exact"/>
        </dgm:presLayoutVars>
      </dgm:prSet>
      <dgm:spPr/>
    </dgm:pt>
    <dgm:pt modelId="{B861AB80-29D4-47A4-956C-7201E6448AEA}" type="pres">
      <dgm:prSet presAssocID="{BECDBFA1-EF7D-461E-9D63-92FC34B5DDA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4C54B3C6-E2F1-4089-BC0B-71BBBA8001DF}" type="pres">
      <dgm:prSet presAssocID="{2B295AAF-EBCC-4FDB-B40E-37DDCF1B3D62}" presName="parTxOnlySpace" presStyleCnt="0"/>
      <dgm:spPr/>
    </dgm:pt>
    <dgm:pt modelId="{B6EE1DFF-800C-4A7E-A5B3-B2A8664B6FB9}" type="pres">
      <dgm:prSet presAssocID="{A7D13E5D-DA28-4AF6-A0C2-74E219215308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273BA95-392E-4CDB-B7FD-FA73BF4E99C0}" type="pres">
      <dgm:prSet presAssocID="{E56C9457-CCF6-4AF7-8F5F-1B2A003C910E}" presName="parTxOnlySpace" presStyleCnt="0"/>
      <dgm:spPr/>
    </dgm:pt>
    <dgm:pt modelId="{5FB8DA8F-99A9-4822-8B47-9317B56FA977}" type="pres">
      <dgm:prSet presAssocID="{133EF22E-82E5-4AA6-95B3-C413AE9C5E3E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E24D931-9E68-43B4-9138-1B7A555CFC76}" type="pres">
      <dgm:prSet presAssocID="{47305C62-5638-438F-AD90-0F8FE6A7E43F}" presName="parTxOnlySpace" presStyleCnt="0"/>
      <dgm:spPr/>
    </dgm:pt>
    <dgm:pt modelId="{23C7B257-B1D5-43F5-AC4E-858CCCD23FD7}" type="pres">
      <dgm:prSet presAssocID="{E2484C15-0B2F-4CFD-A601-FE9CD4F06C96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34B46440-45AC-4B91-A285-37F2EA417CF1}" type="presOf" srcId="{A7D13E5D-DA28-4AF6-A0C2-74E219215308}" destId="{B6EE1DFF-800C-4A7E-A5B3-B2A8664B6FB9}" srcOrd="0" destOrd="0" presId="urn:microsoft.com/office/officeart/2005/8/layout/chevron1"/>
    <dgm:cxn modelId="{D226504F-11CD-40E7-BDC2-8A07E02F086C}" type="presOf" srcId="{E2484C15-0B2F-4CFD-A601-FE9CD4F06C96}" destId="{23C7B257-B1D5-43F5-AC4E-858CCCD23FD7}" srcOrd="0" destOrd="0" presId="urn:microsoft.com/office/officeart/2005/8/layout/chevron1"/>
    <dgm:cxn modelId="{8E523374-9F2F-4543-9B4D-A5D30EEBF802}" srcId="{095C28BA-406E-4561-B8BC-498ADABDC0D5}" destId="{A7D13E5D-DA28-4AF6-A0C2-74E219215308}" srcOrd="1" destOrd="0" parTransId="{F5D9EE8C-1139-435B-95EF-CE25E7202D96}" sibTransId="{E56C9457-CCF6-4AF7-8F5F-1B2A003C910E}"/>
    <dgm:cxn modelId="{6E54A07E-04F0-4718-80EC-AB0A6ADDA453}" type="presOf" srcId="{BECDBFA1-EF7D-461E-9D63-92FC34B5DDAB}" destId="{B861AB80-29D4-47A4-956C-7201E6448AEA}" srcOrd="0" destOrd="0" presId="urn:microsoft.com/office/officeart/2005/8/layout/chevron1"/>
    <dgm:cxn modelId="{3E4FDD84-58E7-41DB-B066-425E9A223CC1}" srcId="{095C28BA-406E-4561-B8BC-498ADABDC0D5}" destId="{133EF22E-82E5-4AA6-95B3-C413AE9C5E3E}" srcOrd="2" destOrd="0" parTransId="{8738B6EE-6FEB-44CB-898E-6C08195717FD}" sibTransId="{47305C62-5638-438F-AD90-0F8FE6A7E43F}"/>
    <dgm:cxn modelId="{67C158B2-121F-4860-96B7-CD8F728CDAF8}" srcId="{095C28BA-406E-4561-B8BC-498ADABDC0D5}" destId="{BECDBFA1-EF7D-461E-9D63-92FC34B5DDAB}" srcOrd="0" destOrd="0" parTransId="{3E33EC6A-60D2-4BBC-B616-D57BC33A7B6B}" sibTransId="{2B295AAF-EBCC-4FDB-B40E-37DDCF1B3D62}"/>
    <dgm:cxn modelId="{9DC118B3-62BF-4997-A934-AA6F52E590FD}" type="presOf" srcId="{133EF22E-82E5-4AA6-95B3-C413AE9C5E3E}" destId="{5FB8DA8F-99A9-4822-8B47-9317B56FA977}" srcOrd="0" destOrd="0" presId="urn:microsoft.com/office/officeart/2005/8/layout/chevron1"/>
    <dgm:cxn modelId="{308AC3CA-E9A6-4BDF-B74E-4E8632A8C58A}" srcId="{095C28BA-406E-4561-B8BC-498ADABDC0D5}" destId="{E2484C15-0B2F-4CFD-A601-FE9CD4F06C96}" srcOrd="3" destOrd="0" parTransId="{F2EF54B8-6B3E-462C-8ED9-EF077DF4235B}" sibTransId="{1C3EA6C9-3500-4497-8C15-53E54F11797A}"/>
    <dgm:cxn modelId="{C3745BF7-536A-45A5-A68B-614F5DB30436}" type="presOf" srcId="{095C28BA-406E-4561-B8BC-498ADABDC0D5}" destId="{34C03574-4681-4C05-B424-279561AA2530}" srcOrd="0" destOrd="0" presId="urn:microsoft.com/office/officeart/2005/8/layout/chevron1"/>
    <dgm:cxn modelId="{B10505C8-B484-4318-A2AD-ED6945997FA5}" type="presParOf" srcId="{34C03574-4681-4C05-B424-279561AA2530}" destId="{B861AB80-29D4-47A4-956C-7201E6448AEA}" srcOrd="0" destOrd="0" presId="urn:microsoft.com/office/officeart/2005/8/layout/chevron1"/>
    <dgm:cxn modelId="{76113EB8-504B-485F-8B06-5D400C2669A8}" type="presParOf" srcId="{34C03574-4681-4C05-B424-279561AA2530}" destId="{4C54B3C6-E2F1-4089-BC0B-71BBBA8001DF}" srcOrd="1" destOrd="0" presId="urn:microsoft.com/office/officeart/2005/8/layout/chevron1"/>
    <dgm:cxn modelId="{C963897C-70EE-450C-BB70-E7B7D56A003D}" type="presParOf" srcId="{34C03574-4681-4C05-B424-279561AA2530}" destId="{B6EE1DFF-800C-4A7E-A5B3-B2A8664B6FB9}" srcOrd="2" destOrd="0" presId="urn:microsoft.com/office/officeart/2005/8/layout/chevron1"/>
    <dgm:cxn modelId="{42E43545-E23A-4C20-ADCD-A330ED7D8047}" type="presParOf" srcId="{34C03574-4681-4C05-B424-279561AA2530}" destId="{2273BA95-392E-4CDB-B7FD-FA73BF4E99C0}" srcOrd="3" destOrd="0" presId="urn:microsoft.com/office/officeart/2005/8/layout/chevron1"/>
    <dgm:cxn modelId="{05CF14F6-D14A-4BEC-8364-4F513371FD97}" type="presParOf" srcId="{34C03574-4681-4C05-B424-279561AA2530}" destId="{5FB8DA8F-99A9-4822-8B47-9317B56FA977}" srcOrd="4" destOrd="0" presId="urn:microsoft.com/office/officeart/2005/8/layout/chevron1"/>
    <dgm:cxn modelId="{1AA1D724-299B-4440-95F7-3C1AE3C3F924}" type="presParOf" srcId="{34C03574-4681-4C05-B424-279561AA2530}" destId="{9E24D931-9E68-43B4-9138-1B7A555CFC76}" srcOrd="5" destOrd="0" presId="urn:microsoft.com/office/officeart/2005/8/layout/chevron1"/>
    <dgm:cxn modelId="{5E7C33C5-7C1C-441B-9BE4-684743E2714E}" type="presParOf" srcId="{34C03574-4681-4C05-B424-279561AA2530}" destId="{23C7B257-B1D5-43F5-AC4E-858CCCD23FD7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095C28BA-406E-4561-B8BC-498ADABDC0D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ECDBFA1-EF7D-461E-9D63-92FC34B5DDAB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國小社會</a:t>
          </a:r>
        </a:p>
      </dgm:t>
    </dgm:pt>
    <dgm:pt modelId="{3E33EC6A-60D2-4BBC-B616-D57BC33A7B6B}" type="parTrans" cxnId="{67C158B2-121F-4860-96B7-CD8F728CDAF8}">
      <dgm:prSet/>
      <dgm:spPr/>
      <dgm:t>
        <a:bodyPr/>
        <a:lstStyle/>
        <a:p>
          <a:endParaRPr lang="zh-TW" altLang="en-US"/>
        </a:p>
      </dgm:t>
    </dgm:pt>
    <dgm:pt modelId="{2B295AAF-EBCC-4FDB-B40E-37DDCF1B3D62}" type="sibTrans" cxnId="{67C158B2-121F-4860-96B7-CD8F728CDAF8}">
      <dgm:prSet/>
      <dgm:spPr/>
      <dgm:t>
        <a:bodyPr/>
        <a:lstStyle/>
        <a:p>
          <a:endParaRPr lang="zh-TW" altLang="en-US"/>
        </a:p>
      </dgm:t>
    </dgm:pt>
    <dgm:pt modelId="{A7D13E5D-DA28-4AF6-A0C2-74E219215308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歷史</a:t>
          </a:r>
        </a:p>
      </dgm:t>
    </dgm:pt>
    <dgm:pt modelId="{F5D9EE8C-1139-435B-95EF-CE25E7202D96}" type="parTrans" cxnId="{8E523374-9F2F-4543-9B4D-A5D30EEBF802}">
      <dgm:prSet/>
      <dgm:spPr/>
      <dgm:t>
        <a:bodyPr/>
        <a:lstStyle/>
        <a:p>
          <a:endParaRPr lang="zh-TW" altLang="en-US"/>
        </a:p>
      </dgm:t>
    </dgm:pt>
    <dgm:pt modelId="{E56C9457-CCF6-4AF7-8F5F-1B2A003C910E}" type="sibTrans" cxnId="{8E523374-9F2F-4543-9B4D-A5D30EEBF802}">
      <dgm:prSet/>
      <dgm:spPr/>
      <dgm:t>
        <a:bodyPr/>
        <a:lstStyle/>
        <a:p>
          <a:endParaRPr lang="zh-TW" altLang="en-US"/>
        </a:p>
      </dgm:t>
    </dgm:pt>
    <dgm:pt modelId="{133EF22E-82E5-4AA6-95B3-C413AE9C5E3E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地理</a:t>
          </a:r>
        </a:p>
      </dgm:t>
    </dgm:pt>
    <dgm:pt modelId="{8738B6EE-6FEB-44CB-898E-6C08195717FD}" type="parTrans" cxnId="{3E4FDD84-58E7-41DB-B066-425E9A223CC1}">
      <dgm:prSet/>
      <dgm:spPr/>
      <dgm:t>
        <a:bodyPr/>
        <a:lstStyle/>
        <a:p>
          <a:endParaRPr lang="zh-TW" altLang="en-US"/>
        </a:p>
      </dgm:t>
    </dgm:pt>
    <dgm:pt modelId="{47305C62-5638-438F-AD90-0F8FE6A7E43F}" type="sibTrans" cxnId="{3E4FDD84-58E7-41DB-B066-425E9A223CC1}">
      <dgm:prSet/>
      <dgm:spPr/>
      <dgm:t>
        <a:bodyPr/>
        <a:lstStyle/>
        <a:p>
          <a:endParaRPr lang="zh-TW" altLang="en-US"/>
        </a:p>
      </dgm:t>
    </dgm:pt>
    <dgm:pt modelId="{E2484C15-0B2F-4CFD-A601-FE9CD4F06C96}">
      <dgm:prSet phldrT="[文字]" custT="1"/>
      <dgm:spPr>
        <a:solidFill>
          <a:srgbClr val="002060"/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公民與社會</a:t>
          </a:r>
        </a:p>
      </dgm:t>
    </dgm:pt>
    <dgm:pt modelId="{F2EF54B8-6B3E-462C-8ED9-EF077DF4235B}" type="parTrans" cxnId="{308AC3CA-E9A6-4BDF-B74E-4E8632A8C58A}">
      <dgm:prSet/>
      <dgm:spPr/>
      <dgm:t>
        <a:bodyPr/>
        <a:lstStyle/>
        <a:p>
          <a:endParaRPr lang="zh-TW" altLang="en-US"/>
        </a:p>
      </dgm:t>
    </dgm:pt>
    <dgm:pt modelId="{1C3EA6C9-3500-4497-8C15-53E54F11797A}" type="sibTrans" cxnId="{308AC3CA-E9A6-4BDF-B74E-4E8632A8C58A}">
      <dgm:prSet/>
      <dgm:spPr/>
      <dgm:t>
        <a:bodyPr/>
        <a:lstStyle/>
        <a:p>
          <a:endParaRPr lang="zh-TW" altLang="en-US"/>
        </a:p>
      </dgm:t>
    </dgm:pt>
    <dgm:pt modelId="{34C03574-4681-4C05-B424-279561AA2530}" type="pres">
      <dgm:prSet presAssocID="{095C28BA-406E-4561-B8BC-498ADABDC0D5}" presName="Name0" presStyleCnt="0">
        <dgm:presLayoutVars>
          <dgm:dir/>
          <dgm:animLvl val="lvl"/>
          <dgm:resizeHandles val="exact"/>
        </dgm:presLayoutVars>
      </dgm:prSet>
      <dgm:spPr/>
    </dgm:pt>
    <dgm:pt modelId="{B861AB80-29D4-47A4-956C-7201E6448AEA}" type="pres">
      <dgm:prSet presAssocID="{BECDBFA1-EF7D-461E-9D63-92FC34B5DDA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4C54B3C6-E2F1-4089-BC0B-71BBBA8001DF}" type="pres">
      <dgm:prSet presAssocID="{2B295AAF-EBCC-4FDB-B40E-37DDCF1B3D62}" presName="parTxOnlySpace" presStyleCnt="0"/>
      <dgm:spPr/>
    </dgm:pt>
    <dgm:pt modelId="{B6EE1DFF-800C-4A7E-A5B3-B2A8664B6FB9}" type="pres">
      <dgm:prSet presAssocID="{A7D13E5D-DA28-4AF6-A0C2-74E219215308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273BA95-392E-4CDB-B7FD-FA73BF4E99C0}" type="pres">
      <dgm:prSet presAssocID="{E56C9457-CCF6-4AF7-8F5F-1B2A003C910E}" presName="parTxOnlySpace" presStyleCnt="0"/>
      <dgm:spPr/>
    </dgm:pt>
    <dgm:pt modelId="{5FB8DA8F-99A9-4822-8B47-9317B56FA977}" type="pres">
      <dgm:prSet presAssocID="{133EF22E-82E5-4AA6-95B3-C413AE9C5E3E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E24D931-9E68-43B4-9138-1B7A555CFC76}" type="pres">
      <dgm:prSet presAssocID="{47305C62-5638-438F-AD90-0F8FE6A7E43F}" presName="parTxOnlySpace" presStyleCnt="0"/>
      <dgm:spPr/>
    </dgm:pt>
    <dgm:pt modelId="{23C7B257-B1D5-43F5-AC4E-858CCCD23FD7}" type="pres">
      <dgm:prSet presAssocID="{E2484C15-0B2F-4CFD-A601-FE9CD4F06C96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BD0DF307-B185-430C-90E9-853AAEC5186D}" type="presOf" srcId="{E2484C15-0B2F-4CFD-A601-FE9CD4F06C96}" destId="{23C7B257-B1D5-43F5-AC4E-858CCCD23FD7}" srcOrd="0" destOrd="0" presId="urn:microsoft.com/office/officeart/2005/8/layout/chevron1"/>
    <dgm:cxn modelId="{FE5BEB19-DC0D-4BB1-BCC5-B52EE0B82F04}" type="presOf" srcId="{095C28BA-406E-4561-B8BC-498ADABDC0D5}" destId="{34C03574-4681-4C05-B424-279561AA2530}" srcOrd="0" destOrd="0" presId="urn:microsoft.com/office/officeart/2005/8/layout/chevron1"/>
    <dgm:cxn modelId="{CFB58E1B-09A2-4BD7-BD29-EEE978DF7602}" type="presOf" srcId="{A7D13E5D-DA28-4AF6-A0C2-74E219215308}" destId="{B6EE1DFF-800C-4A7E-A5B3-B2A8664B6FB9}" srcOrd="0" destOrd="0" presId="urn:microsoft.com/office/officeart/2005/8/layout/chevron1"/>
    <dgm:cxn modelId="{AC64F21D-EEBD-4E73-B3F6-AE47C430666F}" type="presOf" srcId="{BECDBFA1-EF7D-461E-9D63-92FC34B5DDAB}" destId="{B861AB80-29D4-47A4-956C-7201E6448AEA}" srcOrd="0" destOrd="0" presId="urn:microsoft.com/office/officeart/2005/8/layout/chevron1"/>
    <dgm:cxn modelId="{8E523374-9F2F-4543-9B4D-A5D30EEBF802}" srcId="{095C28BA-406E-4561-B8BC-498ADABDC0D5}" destId="{A7D13E5D-DA28-4AF6-A0C2-74E219215308}" srcOrd="1" destOrd="0" parTransId="{F5D9EE8C-1139-435B-95EF-CE25E7202D96}" sibTransId="{E56C9457-CCF6-4AF7-8F5F-1B2A003C910E}"/>
    <dgm:cxn modelId="{3E4FDD84-58E7-41DB-B066-425E9A223CC1}" srcId="{095C28BA-406E-4561-B8BC-498ADABDC0D5}" destId="{133EF22E-82E5-4AA6-95B3-C413AE9C5E3E}" srcOrd="2" destOrd="0" parTransId="{8738B6EE-6FEB-44CB-898E-6C08195717FD}" sibTransId="{47305C62-5638-438F-AD90-0F8FE6A7E43F}"/>
    <dgm:cxn modelId="{9395A798-6C9F-4E96-8971-A97C6E70171D}" type="presOf" srcId="{133EF22E-82E5-4AA6-95B3-C413AE9C5E3E}" destId="{5FB8DA8F-99A9-4822-8B47-9317B56FA977}" srcOrd="0" destOrd="0" presId="urn:microsoft.com/office/officeart/2005/8/layout/chevron1"/>
    <dgm:cxn modelId="{67C158B2-121F-4860-96B7-CD8F728CDAF8}" srcId="{095C28BA-406E-4561-B8BC-498ADABDC0D5}" destId="{BECDBFA1-EF7D-461E-9D63-92FC34B5DDAB}" srcOrd="0" destOrd="0" parTransId="{3E33EC6A-60D2-4BBC-B616-D57BC33A7B6B}" sibTransId="{2B295AAF-EBCC-4FDB-B40E-37DDCF1B3D62}"/>
    <dgm:cxn modelId="{308AC3CA-E9A6-4BDF-B74E-4E8632A8C58A}" srcId="{095C28BA-406E-4561-B8BC-498ADABDC0D5}" destId="{E2484C15-0B2F-4CFD-A601-FE9CD4F06C96}" srcOrd="3" destOrd="0" parTransId="{F2EF54B8-6B3E-462C-8ED9-EF077DF4235B}" sibTransId="{1C3EA6C9-3500-4497-8C15-53E54F11797A}"/>
    <dgm:cxn modelId="{D6753A74-BDA8-42CD-AC47-8E97908E95B1}" type="presParOf" srcId="{34C03574-4681-4C05-B424-279561AA2530}" destId="{B861AB80-29D4-47A4-956C-7201E6448AEA}" srcOrd="0" destOrd="0" presId="urn:microsoft.com/office/officeart/2005/8/layout/chevron1"/>
    <dgm:cxn modelId="{8B7CEE83-CB55-4B0F-BCB0-40095B66C7D4}" type="presParOf" srcId="{34C03574-4681-4C05-B424-279561AA2530}" destId="{4C54B3C6-E2F1-4089-BC0B-71BBBA8001DF}" srcOrd="1" destOrd="0" presId="urn:microsoft.com/office/officeart/2005/8/layout/chevron1"/>
    <dgm:cxn modelId="{20018A5E-1ED4-408A-8437-ECA3C9F284A3}" type="presParOf" srcId="{34C03574-4681-4C05-B424-279561AA2530}" destId="{B6EE1DFF-800C-4A7E-A5B3-B2A8664B6FB9}" srcOrd="2" destOrd="0" presId="urn:microsoft.com/office/officeart/2005/8/layout/chevron1"/>
    <dgm:cxn modelId="{7255AE36-0CF8-4D47-B080-B029987552F9}" type="presParOf" srcId="{34C03574-4681-4C05-B424-279561AA2530}" destId="{2273BA95-392E-4CDB-B7FD-FA73BF4E99C0}" srcOrd="3" destOrd="0" presId="urn:microsoft.com/office/officeart/2005/8/layout/chevron1"/>
    <dgm:cxn modelId="{D1E9A407-7F15-4FCC-A2A2-8D2A8901599A}" type="presParOf" srcId="{34C03574-4681-4C05-B424-279561AA2530}" destId="{5FB8DA8F-99A9-4822-8B47-9317B56FA977}" srcOrd="4" destOrd="0" presId="urn:microsoft.com/office/officeart/2005/8/layout/chevron1"/>
    <dgm:cxn modelId="{8EE1FA2C-E8EC-4AD7-8BBD-042D6FC5DFBD}" type="presParOf" srcId="{34C03574-4681-4C05-B424-279561AA2530}" destId="{9E24D931-9E68-43B4-9138-1B7A555CFC76}" srcOrd="5" destOrd="0" presId="urn:microsoft.com/office/officeart/2005/8/layout/chevron1"/>
    <dgm:cxn modelId="{472C10D9-41B3-40C9-81FB-CE0778420276}" type="presParOf" srcId="{34C03574-4681-4C05-B424-279561AA2530}" destId="{23C7B257-B1D5-43F5-AC4E-858CCCD23FD7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095C28BA-406E-4561-B8BC-498ADABDC0D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ECDBFA1-EF7D-461E-9D63-92FC34B5DDAB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國小社會</a:t>
          </a:r>
        </a:p>
      </dgm:t>
    </dgm:pt>
    <dgm:pt modelId="{3E33EC6A-60D2-4BBC-B616-D57BC33A7B6B}" type="parTrans" cxnId="{67C158B2-121F-4860-96B7-CD8F728CDAF8}">
      <dgm:prSet/>
      <dgm:spPr/>
      <dgm:t>
        <a:bodyPr/>
        <a:lstStyle/>
        <a:p>
          <a:endParaRPr lang="zh-TW" altLang="en-US"/>
        </a:p>
      </dgm:t>
    </dgm:pt>
    <dgm:pt modelId="{2B295AAF-EBCC-4FDB-B40E-37DDCF1B3D62}" type="sibTrans" cxnId="{67C158B2-121F-4860-96B7-CD8F728CDAF8}">
      <dgm:prSet/>
      <dgm:spPr/>
      <dgm:t>
        <a:bodyPr/>
        <a:lstStyle/>
        <a:p>
          <a:endParaRPr lang="zh-TW" altLang="en-US"/>
        </a:p>
      </dgm:t>
    </dgm:pt>
    <dgm:pt modelId="{A7D13E5D-DA28-4AF6-A0C2-74E219215308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歷史</a:t>
          </a:r>
        </a:p>
      </dgm:t>
    </dgm:pt>
    <dgm:pt modelId="{F5D9EE8C-1139-435B-95EF-CE25E7202D96}" type="parTrans" cxnId="{8E523374-9F2F-4543-9B4D-A5D30EEBF802}">
      <dgm:prSet/>
      <dgm:spPr/>
      <dgm:t>
        <a:bodyPr/>
        <a:lstStyle/>
        <a:p>
          <a:endParaRPr lang="zh-TW" altLang="en-US"/>
        </a:p>
      </dgm:t>
    </dgm:pt>
    <dgm:pt modelId="{E56C9457-CCF6-4AF7-8F5F-1B2A003C910E}" type="sibTrans" cxnId="{8E523374-9F2F-4543-9B4D-A5D30EEBF802}">
      <dgm:prSet/>
      <dgm:spPr/>
      <dgm:t>
        <a:bodyPr/>
        <a:lstStyle/>
        <a:p>
          <a:endParaRPr lang="zh-TW" altLang="en-US"/>
        </a:p>
      </dgm:t>
    </dgm:pt>
    <dgm:pt modelId="{133EF22E-82E5-4AA6-95B3-C413AE9C5E3E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地理</a:t>
          </a:r>
        </a:p>
      </dgm:t>
    </dgm:pt>
    <dgm:pt modelId="{8738B6EE-6FEB-44CB-898E-6C08195717FD}" type="parTrans" cxnId="{3E4FDD84-58E7-41DB-B066-425E9A223CC1}">
      <dgm:prSet/>
      <dgm:spPr/>
      <dgm:t>
        <a:bodyPr/>
        <a:lstStyle/>
        <a:p>
          <a:endParaRPr lang="zh-TW" altLang="en-US"/>
        </a:p>
      </dgm:t>
    </dgm:pt>
    <dgm:pt modelId="{47305C62-5638-438F-AD90-0F8FE6A7E43F}" type="sibTrans" cxnId="{3E4FDD84-58E7-41DB-B066-425E9A223CC1}">
      <dgm:prSet/>
      <dgm:spPr/>
      <dgm:t>
        <a:bodyPr/>
        <a:lstStyle/>
        <a:p>
          <a:endParaRPr lang="zh-TW" altLang="en-US"/>
        </a:p>
      </dgm:t>
    </dgm:pt>
    <dgm:pt modelId="{E2484C15-0B2F-4CFD-A601-FE9CD4F06C96}">
      <dgm:prSet phldrT="[文字]" custT="1"/>
      <dgm:spPr>
        <a:solidFill>
          <a:srgbClr val="002060"/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公民與社會</a:t>
          </a:r>
        </a:p>
      </dgm:t>
    </dgm:pt>
    <dgm:pt modelId="{F2EF54B8-6B3E-462C-8ED9-EF077DF4235B}" type="parTrans" cxnId="{308AC3CA-E9A6-4BDF-B74E-4E8632A8C58A}">
      <dgm:prSet/>
      <dgm:spPr/>
      <dgm:t>
        <a:bodyPr/>
        <a:lstStyle/>
        <a:p>
          <a:endParaRPr lang="zh-TW" altLang="en-US"/>
        </a:p>
      </dgm:t>
    </dgm:pt>
    <dgm:pt modelId="{1C3EA6C9-3500-4497-8C15-53E54F11797A}" type="sibTrans" cxnId="{308AC3CA-E9A6-4BDF-B74E-4E8632A8C58A}">
      <dgm:prSet/>
      <dgm:spPr/>
      <dgm:t>
        <a:bodyPr/>
        <a:lstStyle/>
        <a:p>
          <a:endParaRPr lang="zh-TW" altLang="en-US"/>
        </a:p>
      </dgm:t>
    </dgm:pt>
    <dgm:pt modelId="{34C03574-4681-4C05-B424-279561AA2530}" type="pres">
      <dgm:prSet presAssocID="{095C28BA-406E-4561-B8BC-498ADABDC0D5}" presName="Name0" presStyleCnt="0">
        <dgm:presLayoutVars>
          <dgm:dir/>
          <dgm:animLvl val="lvl"/>
          <dgm:resizeHandles val="exact"/>
        </dgm:presLayoutVars>
      </dgm:prSet>
      <dgm:spPr/>
    </dgm:pt>
    <dgm:pt modelId="{B861AB80-29D4-47A4-956C-7201E6448AEA}" type="pres">
      <dgm:prSet presAssocID="{BECDBFA1-EF7D-461E-9D63-92FC34B5DDA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4C54B3C6-E2F1-4089-BC0B-71BBBA8001DF}" type="pres">
      <dgm:prSet presAssocID="{2B295AAF-EBCC-4FDB-B40E-37DDCF1B3D62}" presName="parTxOnlySpace" presStyleCnt="0"/>
      <dgm:spPr/>
    </dgm:pt>
    <dgm:pt modelId="{B6EE1DFF-800C-4A7E-A5B3-B2A8664B6FB9}" type="pres">
      <dgm:prSet presAssocID="{A7D13E5D-DA28-4AF6-A0C2-74E219215308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273BA95-392E-4CDB-B7FD-FA73BF4E99C0}" type="pres">
      <dgm:prSet presAssocID="{E56C9457-CCF6-4AF7-8F5F-1B2A003C910E}" presName="parTxOnlySpace" presStyleCnt="0"/>
      <dgm:spPr/>
    </dgm:pt>
    <dgm:pt modelId="{5FB8DA8F-99A9-4822-8B47-9317B56FA977}" type="pres">
      <dgm:prSet presAssocID="{133EF22E-82E5-4AA6-95B3-C413AE9C5E3E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E24D931-9E68-43B4-9138-1B7A555CFC76}" type="pres">
      <dgm:prSet presAssocID="{47305C62-5638-438F-AD90-0F8FE6A7E43F}" presName="parTxOnlySpace" presStyleCnt="0"/>
      <dgm:spPr/>
    </dgm:pt>
    <dgm:pt modelId="{23C7B257-B1D5-43F5-AC4E-858CCCD23FD7}" type="pres">
      <dgm:prSet presAssocID="{E2484C15-0B2F-4CFD-A601-FE9CD4F06C96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50198204-5312-43A8-ACCB-AB0F1917F0DB}" type="presOf" srcId="{E2484C15-0B2F-4CFD-A601-FE9CD4F06C96}" destId="{23C7B257-B1D5-43F5-AC4E-858CCCD23FD7}" srcOrd="0" destOrd="0" presId="urn:microsoft.com/office/officeart/2005/8/layout/chevron1"/>
    <dgm:cxn modelId="{079F8731-F5A3-4E29-8A00-BC7E35F0CD98}" type="presOf" srcId="{095C28BA-406E-4561-B8BC-498ADABDC0D5}" destId="{34C03574-4681-4C05-B424-279561AA2530}" srcOrd="0" destOrd="0" presId="urn:microsoft.com/office/officeart/2005/8/layout/chevron1"/>
    <dgm:cxn modelId="{8E523374-9F2F-4543-9B4D-A5D30EEBF802}" srcId="{095C28BA-406E-4561-B8BC-498ADABDC0D5}" destId="{A7D13E5D-DA28-4AF6-A0C2-74E219215308}" srcOrd="1" destOrd="0" parTransId="{F5D9EE8C-1139-435B-95EF-CE25E7202D96}" sibTransId="{E56C9457-CCF6-4AF7-8F5F-1B2A003C910E}"/>
    <dgm:cxn modelId="{3E4FDD84-58E7-41DB-B066-425E9A223CC1}" srcId="{095C28BA-406E-4561-B8BC-498ADABDC0D5}" destId="{133EF22E-82E5-4AA6-95B3-C413AE9C5E3E}" srcOrd="2" destOrd="0" parTransId="{8738B6EE-6FEB-44CB-898E-6C08195717FD}" sibTransId="{47305C62-5638-438F-AD90-0F8FE6A7E43F}"/>
    <dgm:cxn modelId="{264464AD-CF0D-4724-BBE3-4F7FF206EFC7}" type="presOf" srcId="{A7D13E5D-DA28-4AF6-A0C2-74E219215308}" destId="{B6EE1DFF-800C-4A7E-A5B3-B2A8664B6FB9}" srcOrd="0" destOrd="0" presId="urn:microsoft.com/office/officeart/2005/8/layout/chevron1"/>
    <dgm:cxn modelId="{67C158B2-121F-4860-96B7-CD8F728CDAF8}" srcId="{095C28BA-406E-4561-B8BC-498ADABDC0D5}" destId="{BECDBFA1-EF7D-461E-9D63-92FC34B5DDAB}" srcOrd="0" destOrd="0" parTransId="{3E33EC6A-60D2-4BBC-B616-D57BC33A7B6B}" sibTransId="{2B295AAF-EBCC-4FDB-B40E-37DDCF1B3D62}"/>
    <dgm:cxn modelId="{A4E5A6C4-BE22-4552-91CF-97759FDEBBF9}" type="presOf" srcId="{133EF22E-82E5-4AA6-95B3-C413AE9C5E3E}" destId="{5FB8DA8F-99A9-4822-8B47-9317B56FA977}" srcOrd="0" destOrd="0" presId="urn:microsoft.com/office/officeart/2005/8/layout/chevron1"/>
    <dgm:cxn modelId="{308AC3CA-E9A6-4BDF-B74E-4E8632A8C58A}" srcId="{095C28BA-406E-4561-B8BC-498ADABDC0D5}" destId="{E2484C15-0B2F-4CFD-A601-FE9CD4F06C96}" srcOrd="3" destOrd="0" parTransId="{F2EF54B8-6B3E-462C-8ED9-EF077DF4235B}" sibTransId="{1C3EA6C9-3500-4497-8C15-53E54F11797A}"/>
    <dgm:cxn modelId="{3214B7E9-6DA3-44EC-94C2-441AA8803DFB}" type="presOf" srcId="{BECDBFA1-EF7D-461E-9D63-92FC34B5DDAB}" destId="{B861AB80-29D4-47A4-956C-7201E6448AEA}" srcOrd="0" destOrd="0" presId="urn:microsoft.com/office/officeart/2005/8/layout/chevron1"/>
    <dgm:cxn modelId="{71F9225D-95C3-42ED-8945-DA0BF66F7591}" type="presParOf" srcId="{34C03574-4681-4C05-B424-279561AA2530}" destId="{B861AB80-29D4-47A4-956C-7201E6448AEA}" srcOrd="0" destOrd="0" presId="urn:microsoft.com/office/officeart/2005/8/layout/chevron1"/>
    <dgm:cxn modelId="{5B764455-0B90-4A8D-81FB-EA4BE2A2F80C}" type="presParOf" srcId="{34C03574-4681-4C05-B424-279561AA2530}" destId="{4C54B3C6-E2F1-4089-BC0B-71BBBA8001DF}" srcOrd="1" destOrd="0" presId="urn:microsoft.com/office/officeart/2005/8/layout/chevron1"/>
    <dgm:cxn modelId="{D031B2E2-60E7-462E-845D-AEA06D7CAF4F}" type="presParOf" srcId="{34C03574-4681-4C05-B424-279561AA2530}" destId="{B6EE1DFF-800C-4A7E-A5B3-B2A8664B6FB9}" srcOrd="2" destOrd="0" presId="urn:microsoft.com/office/officeart/2005/8/layout/chevron1"/>
    <dgm:cxn modelId="{388D654B-A643-4C59-99B7-941CB50D6F80}" type="presParOf" srcId="{34C03574-4681-4C05-B424-279561AA2530}" destId="{2273BA95-392E-4CDB-B7FD-FA73BF4E99C0}" srcOrd="3" destOrd="0" presId="urn:microsoft.com/office/officeart/2005/8/layout/chevron1"/>
    <dgm:cxn modelId="{AC83B368-AA43-4089-9FBF-B0CD803086C8}" type="presParOf" srcId="{34C03574-4681-4C05-B424-279561AA2530}" destId="{5FB8DA8F-99A9-4822-8B47-9317B56FA977}" srcOrd="4" destOrd="0" presId="urn:microsoft.com/office/officeart/2005/8/layout/chevron1"/>
    <dgm:cxn modelId="{4C918DEC-4DB9-4738-99F3-61F656C51CD8}" type="presParOf" srcId="{34C03574-4681-4C05-B424-279561AA2530}" destId="{9E24D931-9E68-43B4-9138-1B7A555CFC76}" srcOrd="5" destOrd="0" presId="urn:microsoft.com/office/officeart/2005/8/layout/chevron1"/>
    <dgm:cxn modelId="{1C521ECE-0F0C-40B5-91F6-F7EF44DC953C}" type="presParOf" srcId="{34C03574-4681-4C05-B424-279561AA2530}" destId="{23C7B257-B1D5-43F5-AC4E-858CCCD23FD7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E114BC54-5623-4A29-8444-BBAF441D29E2}" type="doc">
      <dgm:prSet loTypeId="urn:microsoft.com/office/officeart/2005/8/layout/matrix2" loCatId="matrix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zh-TW" altLang="en-US"/>
        </a:p>
      </dgm:t>
    </dgm:pt>
    <dgm:pt modelId="{150919A2-55D8-422A-A5EB-7632120897AC}">
      <dgm:prSet phldrT="[文字]"/>
      <dgm:spPr/>
      <dgm:t>
        <a:bodyPr/>
        <a:lstStyle/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學校</a:t>
          </a:r>
          <a:endParaRPr lang="en-US" altLang="zh-TW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spcAft>
              <a:spcPct val="3500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本位</a:t>
          </a:r>
        </a:p>
      </dgm:t>
    </dgm:pt>
    <dgm:pt modelId="{9B136F5F-8AE8-4D09-BED7-A056F86C8310}" type="parTrans" cxnId="{E6C7BB39-C455-4540-AC3D-9F2EE55BD636}">
      <dgm:prSet/>
      <dgm:spPr/>
      <dgm:t>
        <a:bodyPr/>
        <a:lstStyle/>
        <a:p>
          <a:endParaRPr lang="zh-TW" altLang="en-US"/>
        </a:p>
      </dgm:t>
    </dgm:pt>
    <dgm:pt modelId="{FF10231C-4EB4-4871-B9CA-0EEC49E1ADD6}" type="sibTrans" cxnId="{E6C7BB39-C455-4540-AC3D-9F2EE55BD636}">
      <dgm:prSet/>
      <dgm:spPr/>
      <dgm:t>
        <a:bodyPr/>
        <a:lstStyle/>
        <a:p>
          <a:endParaRPr lang="zh-TW" altLang="en-US"/>
        </a:p>
      </dgm:t>
    </dgm:pt>
    <dgm:pt modelId="{596EA30F-451A-472D-B144-2C6845E925AB}">
      <dgm:prSet phldrT="[文字]"/>
      <dgm:spPr/>
      <dgm:t>
        <a:bodyPr/>
        <a:lstStyle/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學習者</a:t>
          </a:r>
          <a:endParaRPr lang="en-US" altLang="zh-TW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中心</a:t>
          </a:r>
        </a:p>
      </dgm:t>
    </dgm:pt>
    <dgm:pt modelId="{CC2FBCEF-C7D9-41FC-B164-C5B390B85F8E}" type="parTrans" cxnId="{EE637348-1E35-4524-B26A-93A500F00A7B}">
      <dgm:prSet/>
      <dgm:spPr/>
      <dgm:t>
        <a:bodyPr/>
        <a:lstStyle/>
        <a:p>
          <a:endParaRPr lang="zh-TW" altLang="en-US"/>
        </a:p>
      </dgm:t>
    </dgm:pt>
    <dgm:pt modelId="{96FE8D9C-EED8-4711-A0D9-3398F2BCCAFC}" type="sibTrans" cxnId="{EE637348-1E35-4524-B26A-93A500F00A7B}">
      <dgm:prSet/>
      <dgm:spPr/>
      <dgm:t>
        <a:bodyPr/>
        <a:lstStyle/>
        <a:p>
          <a:endParaRPr lang="zh-TW" altLang="en-US"/>
        </a:p>
      </dgm:t>
    </dgm:pt>
    <dgm:pt modelId="{E3862404-95F7-4D5D-83DD-BDEC556A4115}">
      <dgm:prSet phldrT="[文字]"/>
      <dgm:spPr/>
      <dgm:t>
        <a:bodyPr/>
        <a:lstStyle/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問題</a:t>
          </a:r>
          <a:endParaRPr lang="en-US" altLang="zh-TW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spcAft>
              <a:spcPct val="3500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導向</a:t>
          </a:r>
        </a:p>
      </dgm:t>
    </dgm:pt>
    <dgm:pt modelId="{BB3E3588-5CDE-478C-BAEB-5DF7E9549764}" type="parTrans" cxnId="{A9462E22-EDD1-4DB9-8CB9-039DB3E4E7A9}">
      <dgm:prSet/>
      <dgm:spPr/>
      <dgm:t>
        <a:bodyPr/>
        <a:lstStyle/>
        <a:p>
          <a:endParaRPr lang="zh-TW" altLang="en-US"/>
        </a:p>
      </dgm:t>
    </dgm:pt>
    <dgm:pt modelId="{AD8A7C1B-97A4-4A7E-81A0-1748DFBD0D54}" type="sibTrans" cxnId="{A9462E22-EDD1-4DB9-8CB9-039DB3E4E7A9}">
      <dgm:prSet/>
      <dgm:spPr/>
      <dgm:t>
        <a:bodyPr/>
        <a:lstStyle/>
        <a:p>
          <a:endParaRPr lang="zh-TW" altLang="en-US"/>
        </a:p>
      </dgm:t>
    </dgm:pt>
    <dgm:pt modelId="{614B8A7E-7480-4AD2-A6A1-D511B6726019}">
      <dgm:prSet phldrT="[文字]"/>
      <dgm:spPr/>
      <dgm:t>
        <a:bodyPr/>
        <a:lstStyle/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團隊</a:t>
          </a:r>
          <a:endParaRPr lang="en-US" altLang="zh-TW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spcAft>
              <a:spcPct val="3500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合作</a:t>
          </a:r>
        </a:p>
      </dgm:t>
    </dgm:pt>
    <dgm:pt modelId="{34FC1A9E-B3D4-47A7-8B47-461781A80CAC}" type="parTrans" cxnId="{D1ED3C62-8CFC-442F-B553-C771A1985AE3}">
      <dgm:prSet/>
      <dgm:spPr/>
      <dgm:t>
        <a:bodyPr/>
        <a:lstStyle/>
        <a:p>
          <a:endParaRPr lang="zh-TW" altLang="en-US"/>
        </a:p>
      </dgm:t>
    </dgm:pt>
    <dgm:pt modelId="{2F1B410A-AA0C-4765-A365-D6EEC3E2FCF0}" type="sibTrans" cxnId="{D1ED3C62-8CFC-442F-B553-C771A1985AE3}">
      <dgm:prSet/>
      <dgm:spPr/>
      <dgm:t>
        <a:bodyPr/>
        <a:lstStyle/>
        <a:p>
          <a:endParaRPr lang="zh-TW" altLang="en-US"/>
        </a:p>
      </dgm:t>
    </dgm:pt>
    <dgm:pt modelId="{60FAA995-A98E-40EF-ADA2-D2DD66BAC9D3}" type="pres">
      <dgm:prSet presAssocID="{E114BC54-5623-4A29-8444-BBAF441D29E2}" presName="matrix" presStyleCnt="0">
        <dgm:presLayoutVars>
          <dgm:chMax val="1"/>
          <dgm:dir/>
          <dgm:resizeHandles val="exact"/>
        </dgm:presLayoutVars>
      </dgm:prSet>
      <dgm:spPr/>
    </dgm:pt>
    <dgm:pt modelId="{41154163-526D-4D2F-A01C-21C267F3E199}" type="pres">
      <dgm:prSet presAssocID="{E114BC54-5623-4A29-8444-BBAF441D29E2}" presName="axisShape" presStyleLbl="bgShp" presStyleIdx="0" presStyleCnt="1"/>
      <dgm:spPr/>
    </dgm:pt>
    <dgm:pt modelId="{EE1F9DEF-4093-4A5C-834A-91035F75F8D4}" type="pres">
      <dgm:prSet presAssocID="{E114BC54-5623-4A29-8444-BBAF441D29E2}" presName="rect1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2C50563F-BDCE-4C0B-82F5-E8EA81A144C4}" type="pres">
      <dgm:prSet presAssocID="{E114BC54-5623-4A29-8444-BBAF441D29E2}" presName="rect2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36E61DBB-C6DF-4BA6-87CF-E0BF03C916F6}" type="pres">
      <dgm:prSet presAssocID="{E114BC54-5623-4A29-8444-BBAF441D29E2}" presName="rect3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F539113F-F584-4B8B-B5AF-1F854FE75A97}" type="pres">
      <dgm:prSet presAssocID="{E114BC54-5623-4A29-8444-BBAF441D29E2}" presName="rect4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A9462E22-EDD1-4DB9-8CB9-039DB3E4E7A9}" srcId="{E114BC54-5623-4A29-8444-BBAF441D29E2}" destId="{E3862404-95F7-4D5D-83DD-BDEC556A4115}" srcOrd="2" destOrd="0" parTransId="{BB3E3588-5CDE-478C-BAEB-5DF7E9549764}" sibTransId="{AD8A7C1B-97A4-4A7E-81A0-1748DFBD0D54}"/>
    <dgm:cxn modelId="{17F31928-E55B-4F26-85F5-9F31FFA2F8B7}" type="presOf" srcId="{596EA30F-451A-472D-B144-2C6845E925AB}" destId="{2C50563F-BDCE-4C0B-82F5-E8EA81A144C4}" srcOrd="0" destOrd="0" presId="urn:microsoft.com/office/officeart/2005/8/layout/matrix2"/>
    <dgm:cxn modelId="{E6C7BB39-C455-4540-AC3D-9F2EE55BD636}" srcId="{E114BC54-5623-4A29-8444-BBAF441D29E2}" destId="{150919A2-55D8-422A-A5EB-7632120897AC}" srcOrd="0" destOrd="0" parTransId="{9B136F5F-8AE8-4D09-BED7-A056F86C8310}" sibTransId="{FF10231C-4EB4-4871-B9CA-0EEC49E1ADD6}"/>
    <dgm:cxn modelId="{D1ED3C62-8CFC-442F-B553-C771A1985AE3}" srcId="{E114BC54-5623-4A29-8444-BBAF441D29E2}" destId="{614B8A7E-7480-4AD2-A6A1-D511B6726019}" srcOrd="3" destOrd="0" parTransId="{34FC1A9E-B3D4-47A7-8B47-461781A80CAC}" sibTransId="{2F1B410A-AA0C-4765-A365-D6EEC3E2FCF0}"/>
    <dgm:cxn modelId="{EE637348-1E35-4524-B26A-93A500F00A7B}" srcId="{E114BC54-5623-4A29-8444-BBAF441D29E2}" destId="{596EA30F-451A-472D-B144-2C6845E925AB}" srcOrd="1" destOrd="0" parTransId="{CC2FBCEF-C7D9-41FC-B164-C5B390B85F8E}" sibTransId="{96FE8D9C-EED8-4711-A0D9-3398F2BCCAFC}"/>
    <dgm:cxn modelId="{0E458449-22EC-4BDB-9B49-C06C20E3460E}" type="presOf" srcId="{150919A2-55D8-422A-A5EB-7632120897AC}" destId="{EE1F9DEF-4093-4A5C-834A-91035F75F8D4}" srcOrd="0" destOrd="0" presId="urn:microsoft.com/office/officeart/2005/8/layout/matrix2"/>
    <dgm:cxn modelId="{FFD3E984-2B76-4344-B8DE-C8D03B82CF1B}" type="presOf" srcId="{E114BC54-5623-4A29-8444-BBAF441D29E2}" destId="{60FAA995-A98E-40EF-ADA2-D2DD66BAC9D3}" srcOrd="0" destOrd="0" presId="urn:microsoft.com/office/officeart/2005/8/layout/matrix2"/>
    <dgm:cxn modelId="{6006108F-6715-4810-AC5E-C51145001751}" type="presOf" srcId="{E3862404-95F7-4D5D-83DD-BDEC556A4115}" destId="{36E61DBB-C6DF-4BA6-87CF-E0BF03C916F6}" srcOrd="0" destOrd="0" presId="urn:microsoft.com/office/officeart/2005/8/layout/matrix2"/>
    <dgm:cxn modelId="{22672BA2-1775-4B27-88BB-BFF153D81FA8}" type="presOf" srcId="{614B8A7E-7480-4AD2-A6A1-D511B6726019}" destId="{F539113F-F584-4B8B-B5AF-1F854FE75A97}" srcOrd="0" destOrd="0" presId="urn:microsoft.com/office/officeart/2005/8/layout/matrix2"/>
    <dgm:cxn modelId="{05808179-D449-4297-AD43-AA4964BF60ED}" type="presParOf" srcId="{60FAA995-A98E-40EF-ADA2-D2DD66BAC9D3}" destId="{41154163-526D-4D2F-A01C-21C267F3E199}" srcOrd="0" destOrd="0" presId="urn:microsoft.com/office/officeart/2005/8/layout/matrix2"/>
    <dgm:cxn modelId="{264C7385-A38C-48E9-A62C-008776F21B98}" type="presParOf" srcId="{60FAA995-A98E-40EF-ADA2-D2DD66BAC9D3}" destId="{EE1F9DEF-4093-4A5C-834A-91035F75F8D4}" srcOrd="1" destOrd="0" presId="urn:microsoft.com/office/officeart/2005/8/layout/matrix2"/>
    <dgm:cxn modelId="{E1448675-4645-4A99-817F-77AE04B63E16}" type="presParOf" srcId="{60FAA995-A98E-40EF-ADA2-D2DD66BAC9D3}" destId="{2C50563F-BDCE-4C0B-82F5-E8EA81A144C4}" srcOrd="2" destOrd="0" presId="urn:microsoft.com/office/officeart/2005/8/layout/matrix2"/>
    <dgm:cxn modelId="{250C661E-902B-430C-B0BA-D6B31882E457}" type="presParOf" srcId="{60FAA995-A98E-40EF-ADA2-D2DD66BAC9D3}" destId="{36E61DBB-C6DF-4BA6-87CF-E0BF03C916F6}" srcOrd="3" destOrd="0" presId="urn:microsoft.com/office/officeart/2005/8/layout/matrix2"/>
    <dgm:cxn modelId="{55F624B0-797D-4E20-94C6-793E50DC7B6B}" type="presParOf" srcId="{60FAA995-A98E-40EF-ADA2-D2DD66BAC9D3}" destId="{F539113F-F584-4B8B-B5AF-1F854FE75A97}" srcOrd="4" destOrd="0" presId="urn:microsoft.com/office/officeart/2005/8/layout/matrix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543FFD75-189E-409F-8BAE-C68580FC728B}" type="doc">
      <dgm:prSet loTypeId="urn:microsoft.com/office/officeart/2005/8/layout/matrix1" loCatId="matrix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zh-TW" altLang="en-US"/>
        </a:p>
      </dgm:t>
    </dgm:pt>
    <dgm:pt modelId="{4213BB88-B4CF-439D-B997-3035CE8D033B}">
      <dgm:prSet phldrT="[文字]"/>
      <dgm:spPr/>
      <dgm:t>
        <a:bodyPr/>
        <a:lstStyle/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依據學習重點</a:t>
          </a:r>
          <a:endParaRPr lang="en-US" altLang="zh-TW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融入核心素養</a:t>
          </a:r>
        </a:p>
      </dgm:t>
    </dgm:pt>
    <dgm:pt modelId="{83DDA132-E0CF-471C-AF79-727D45A2CCD4}" type="parTrans" cxnId="{2483B703-EF46-4AEB-9C0E-0CE99E1D783D}">
      <dgm:prSet/>
      <dgm:spPr/>
      <dgm:t>
        <a:bodyPr/>
        <a:lstStyle/>
        <a:p>
          <a:endParaRPr lang="zh-TW" altLang="en-US"/>
        </a:p>
      </dgm:t>
    </dgm:pt>
    <dgm:pt modelId="{C36B1FBB-C681-4B29-8A5A-DB3CEC57E599}" type="sibTrans" cxnId="{2483B703-EF46-4AEB-9C0E-0CE99E1D783D}">
      <dgm:prSet/>
      <dgm:spPr/>
      <dgm:t>
        <a:bodyPr/>
        <a:lstStyle/>
        <a:p>
          <a:endParaRPr lang="zh-TW" altLang="en-US"/>
        </a:p>
      </dgm:t>
    </dgm:pt>
    <dgm:pt modelId="{B692580D-7265-4754-9ED7-92C6AF6F94C3}">
      <dgm:prSet phldrT="[文字]"/>
      <dgm:spPr/>
      <dgm:t>
        <a:bodyPr/>
        <a:lstStyle/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留意縱向銜接與橫向統整</a:t>
          </a:r>
          <a:endParaRPr lang="en-US" altLang="zh-TW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避免不必要的重複</a:t>
          </a:r>
        </a:p>
      </dgm:t>
    </dgm:pt>
    <dgm:pt modelId="{6FC80CA6-3DCB-47D5-90B1-46FBAA83B96D}" type="parTrans" cxnId="{379F494C-AE5C-45BE-AE65-CB41B3000D5B}">
      <dgm:prSet/>
      <dgm:spPr/>
      <dgm:t>
        <a:bodyPr/>
        <a:lstStyle/>
        <a:p>
          <a:endParaRPr lang="zh-TW" altLang="en-US"/>
        </a:p>
      </dgm:t>
    </dgm:pt>
    <dgm:pt modelId="{1B1A761A-5F4A-44A2-B463-CBD5BC91B408}" type="sibTrans" cxnId="{379F494C-AE5C-45BE-AE65-CB41B3000D5B}">
      <dgm:prSet/>
      <dgm:spPr/>
      <dgm:t>
        <a:bodyPr/>
        <a:lstStyle/>
        <a:p>
          <a:endParaRPr lang="zh-TW" altLang="en-US"/>
        </a:p>
      </dgm:t>
    </dgm:pt>
    <dgm:pt modelId="{590AF6E2-34AF-4032-8CBB-10F92E8E5953}">
      <dgm:prSet phldrT="[文字]"/>
      <dgm:spPr/>
      <dgm:t>
        <a:bodyPr/>
        <a:lstStyle/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結合學習表現與學習內容</a:t>
          </a:r>
          <a:endParaRPr lang="en-US" altLang="zh-TW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設計符合整合性、脈絡性、策略性及活用性的學習教材</a:t>
          </a:r>
        </a:p>
      </dgm:t>
    </dgm:pt>
    <dgm:pt modelId="{50008412-A8D6-4BF4-AB17-3CDE7F49D5DA}" type="parTrans" cxnId="{797E6749-D3E4-40FD-BFDA-FA10E50AB3C5}">
      <dgm:prSet/>
      <dgm:spPr/>
      <dgm:t>
        <a:bodyPr/>
        <a:lstStyle/>
        <a:p>
          <a:endParaRPr lang="zh-TW" altLang="en-US"/>
        </a:p>
      </dgm:t>
    </dgm:pt>
    <dgm:pt modelId="{000B6A26-CF16-4FF7-9495-1367A9C07506}" type="sibTrans" cxnId="{797E6749-D3E4-40FD-BFDA-FA10E50AB3C5}">
      <dgm:prSet/>
      <dgm:spPr/>
      <dgm:t>
        <a:bodyPr/>
        <a:lstStyle/>
        <a:p>
          <a:endParaRPr lang="zh-TW" altLang="en-US"/>
        </a:p>
      </dgm:t>
    </dgm:pt>
    <dgm:pt modelId="{1A229C2F-FF96-4A25-AB5D-8324FAC124D0}">
      <dgm:prSet phldrT="[文字]"/>
      <dgm:spPr/>
      <dgm:t>
        <a:bodyPr/>
        <a:lstStyle/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考量學生生活經驗及社會脈動</a:t>
          </a:r>
          <a:endParaRPr lang="en-US" altLang="zh-TW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結合相關議題並兼顧多元觀點</a:t>
          </a:r>
          <a:endParaRPr lang="en-US" altLang="zh-TW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避免刻板印象、歧視與權威內容</a:t>
          </a:r>
          <a:endParaRPr lang="en-US" altLang="zh-TW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67FE8952-8502-4417-BC33-31D08F0E0492}" type="parTrans" cxnId="{3B8174DA-4178-4549-88D8-17989E8660DD}">
      <dgm:prSet/>
      <dgm:spPr/>
      <dgm:t>
        <a:bodyPr/>
        <a:lstStyle/>
        <a:p>
          <a:endParaRPr lang="zh-TW" altLang="en-US"/>
        </a:p>
      </dgm:t>
    </dgm:pt>
    <dgm:pt modelId="{DC61AFFA-52BA-4DE3-91C5-FACD6B13AE2D}" type="sibTrans" cxnId="{3B8174DA-4178-4549-88D8-17989E8660DD}">
      <dgm:prSet/>
      <dgm:spPr/>
      <dgm:t>
        <a:bodyPr/>
        <a:lstStyle/>
        <a:p>
          <a:endParaRPr lang="zh-TW" altLang="en-US"/>
        </a:p>
      </dgm:t>
    </dgm:pt>
    <dgm:pt modelId="{E88E6460-6FD1-4F5C-92CB-D47B39F65AF4}">
      <dgm:prSet phldrT="[文字]"/>
      <dgm:spPr/>
      <dgm:t>
        <a:bodyPr/>
        <a:lstStyle/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反映當今學界重要研究成果</a:t>
          </a:r>
          <a:endParaRPr lang="en-US" altLang="zh-TW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spcAft>
              <a:spcPct val="3500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避免過多艱澀的定義，或類型化、表淺化、零碎化與教條化的素材</a:t>
          </a:r>
        </a:p>
      </dgm:t>
    </dgm:pt>
    <dgm:pt modelId="{799AD121-5B5F-4187-ABE1-FA9A59B12C12}" type="parTrans" cxnId="{916BB9F5-3F5D-4929-841A-1FEB93FB2E3C}">
      <dgm:prSet/>
      <dgm:spPr/>
      <dgm:t>
        <a:bodyPr/>
        <a:lstStyle/>
        <a:p>
          <a:endParaRPr lang="zh-TW" altLang="en-US"/>
        </a:p>
      </dgm:t>
    </dgm:pt>
    <dgm:pt modelId="{2AB9934B-2151-4465-87A7-F27082BAA030}" type="sibTrans" cxnId="{916BB9F5-3F5D-4929-841A-1FEB93FB2E3C}">
      <dgm:prSet/>
      <dgm:spPr/>
      <dgm:t>
        <a:bodyPr/>
        <a:lstStyle/>
        <a:p>
          <a:endParaRPr lang="zh-TW" altLang="en-US"/>
        </a:p>
      </dgm:t>
    </dgm:pt>
    <dgm:pt modelId="{5F6563A1-3DE0-45B8-A6D5-B4DC8AC6E221}" type="pres">
      <dgm:prSet presAssocID="{543FFD75-189E-409F-8BAE-C68580FC728B}" presName="diagram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9C479E54-4AF5-4C26-8E2A-B04A37E978BF}" type="pres">
      <dgm:prSet presAssocID="{543FFD75-189E-409F-8BAE-C68580FC728B}" presName="matrix" presStyleCnt="0"/>
      <dgm:spPr/>
    </dgm:pt>
    <dgm:pt modelId="{F4C1DDB9-F2B8-4C3B-A02F-5194FA84D98C}" type="pres">
      <dgm:prSet presAssocID="{543FFD75-189E-409F-8BAE-C68580FC728B}" presName="tile1" presStyleLbl="node1" presStyleIdx="0" presStyleCnt="4"/>
      <dgm:spPr/>
    </dgm:pt>
    <dgm:pt modelId="{5D9598E1-6DAE-4279-8E5A-A10FF70AA7A2}" type="pres">
      <dgm:prSet presAssocID="{543FFD75-189E-409F-8BAE-C68580FC728B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EADA6913-86A5-4616-AE59-69CFC147CCC0}" type="pres">
      <dgm:prSet presAssocID="{543FFD75-189E-409F-8BAE-C68580FC728B}" presName="tile2" presStyleLbl="node1" presStyleIdx="1" presStyleCnt="4"/>
      <dgm:spPr/>
    </dgm:pt>
    <dgm:pt modelId="{509F5FB1-C51A-4978-9E47-84F2E8173BA4}" type="pres">
      <dgm:prSet presAssocID="{543FFD75-189E-409F-8BAE-C68580FC728B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A410556E-9492-4823-A16D-E98FD02E9EB3}" type="pres">
      <dgm:prSet presAssocID="{543FFD75-189E-409F-8BAE-C68580FC728B}" presName="tile3" presStyleLbl="node1" presStyleIdx="2" presStyleCnt="4"/>
      <dgm:spPr/>
    </dgm:pt>
    <dgm:pt modelId="{B4254A80-4492-4DDA-B89C-8F8A9C492C5C}" type="pres">
      <dgm:prSet presAssocID="{543FFD75-189E-409F-8BAE-C68580FC728B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E144C839-0A13-4FF9-8DE2-C7B93C0E4348}" type="pres">
      <dgm:prSet presAssocID="{543FFD75-189E-409F-8BAE-C68580FC728B}" presName="tile4" presStyleLbl="node1" presStyleIdx="3" presStyleCnt="4"/>
      <dgm:spPr/>
    </dgm:pt>
    <dgm:pt modelId="{0DA2BC78-AA4C-4D9C-A1CE-0991F19EC9C2}" type="pres">
      <dgm:prSet presAssocID="{543FFD75-189E-409F-8BAE-C68580FC728B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</dgm:pt>
    <dgm:pt modelId="{6D0F8881-58F9-459C-8861-3B1FF8159351}" type="pres">
      <dgm:prSet presAssocID="{543FFD75-189E-409F-8BAE-C68580FC728B}" presName="centerTile" presStyleLbl="fgShp" presStyleIdx="0" presStyleCnt="1">
        <dgm:presLayoutVars>
          <dgm:chMax val="0"/>
          <dgm:chPref val="0"/>
        </dgm:presLayoutVars>
      </dgm:prSet>
      <dgm:spPr/>
    </dgm:pt>
  </dgm:ptLst>
  <dgm:cxnLst>
    <dgm:cxn modelId="{2483B703-EF46-4AEB-9C0E-0CE99E1D783D}" srcId="{543FFD75-189E-409F-8BAE-C68580FC728B}" destId="{4213BB88-B4CF-439D-B997-3035CE8D033B}" srcOrd="0" destOrd="0" parTransId="{83DDA132-E0CF-471C-AF79-727D45A2CCD4}" sibTransId="{C36B1FBB-C681-4B29-8A5A-DB3CEC57E599}"/>
    <dgm:cxn modelId="{BBE8421F-24DC-4B09-9058-A30CBFD5C985}" type="presOf" srcId="{B692580D-7265-4754-9ED7-92C6AF6F94C3}" destId="{F4C1DDB9-F2B8-4C3B-A02F-5194FA84D98C}" srcOrd="0" destOrd="0" presId="urn:microsoft.com/office/officeart/2005/8/layout/matrix1"/>
    <dgm:cxn modelId="{FA9A572E-47A7-4F4A-9345-16B7CCF10675}" type="presOf" srcId="{B692580D-7265-4754-9ED7-92C6AF6F94C3}" destId="{5D9598E1-6DAE-4279-8E5A-A10FF70AA7A2}" srcOrd="1" destOrd="0" presId="urn:microsoft.com/office/officeart/2005/8/layout/matrix1"/>
    <dgm:cxn modelId="{C202B05E-B913-47C5-B285-4BD8C3CD2F84}" type="presOf" srcId="{4213BB88-B4CF-439D-B997-3035CE8D033B}" destId="{6D0F8881-58F9-459C-8861-3B1FF8159351}" srcOrd="0" destOrd="0" presId="urn:microsoft.com/office/officeart/2005/8/layout/matrix1"/>
    <dgm:cxn modelId="{797E6749-D3E4-40FD-BFDA-FA10E50AB3C5}" srcId="{4213BB88-B4CF-439D-B997-3035CE8D033B}" destId="{590AF6E2-34AF-4032-8CBB-10F92E8E5953}" srcOrd="1" destOrd="0" parTransId="{50008412-A8D6-4BF4-AB17-3CDE7F49D5DA}" sibTransId="{000B6A26-CF16-4FF7-9495-1367A9C07506}"/>
    <dgm:cxn modelId="{7D2FCA4A-31F3-4D5C-A365-83817DEE67A8}" type="presOf" srcId="{543FFD75-189E-409F-8BAE-C68580FC728B}" destId="{5F6563A1-3DE0-45B8-A6D5-B4DC8AC6E221}" srcOrd="0" destOrd="0" presId="urn:microsoft.com/office/officeart/2005/8/layout/matrix1"/>
    <dgm:cxn modelId="{379F494C-AE5C-45BE-AE65-CB41B3000D5B}" srcId="{4213BB88-B4CF-439D-B997-3035CE8D033B}" destId="{B692580D-7265-4754-9ED7-92C6AF6F94C3}" srcOrd="0" destOrd="0" parTransId="{6FC80CA6-3DCB-47D5-90B1-46FBAA83B96D}" sibTransId="{1B1A761A-5F4A-44A2-B463-CBD5BC91B408}"/>
    <dgm:cxn modelId="{D6D062A8-9480-493D-A003-D01BB600364A}" type="presOf" srcId="{1A229C2F-FF96-4A25-AB5D-8324FAC124D0}" destId="{B4254A80-4492-4DDA-B89C-8F8A9C492C5C}" srcOrd="1" destOrd="0" presId="urn:microsoft.com/office/officeart/2005/8/layout/matrix1"/>
    <dgm:cxn modelId="{A3409BB0-F069-4634-B4EE-71E461662DFF}" type="presOf" srcId="{E88E6460-6FD1-4F5C-92CB-D47B39F65AF4}" destId="{0DA2BC78-AA4C-4D9C-A1CE-0991F19EC9C2}" srcOrd="1" destOrd="0" presId="urn:microsoft.com/office/officeart/2005/8/layout/matrix1"/>
    <dgm:cxn modelId="{FB3FDDBC-42BC-4665-81C5-88510DDA4E50}" type="presOf" srcId="{590AF6E2-34AF-4032-8CBB-10F92E8E5953}" destId="{EADA6913-86A5-4616-AE59-69CFC147CCC0}" srcOrd="0" destOrd="0" presId="urn:microsoft.com/office/officeart/2005/8/layout/matrix1"/>
    <dgm:cxn modelId="{519263DA-6E40-4A91-A267-9FA39C123D40}" type="presOf" srcId="{1A229C2F-FF96-4A25-AB5D-8324FAC124D0}" destId="{A410556E-9492-4823-A16D-E98FD02E9EB3}" srcOrd="0" destOrd="0" presId="urn:microsoft.com/office/officeart/2005/8/layout/matrix1"/>
    <dgm:cxn modelId="{3B8174DA-4178-4549-88D8-17989E8660DD}" srcId="{4213BB88-B4CF-439D-B997-3035CE8D033B}" destId="{1A229C2F-FF96-4A25-AB5D-8324FAC124D0}" srcOrd="2" destOrd="0" parTransId="{67FE8952-8502-4417-BC33-31D08F0E0492}" sibTransId="{DC61AFFA-52BA-4DE3-91C5-FACD6B13AE2D}"/>
    <dgm:cxn modelId="{C7146FEF-1785-4EB4-B115-9EC76BF5AA0D}" type="presOf" srcId="{E88E6460-6FD1-4F5C-92CB-D47B39F65AF4}" destId="{E144C839-0A13-4FF9-8DE2-C7B93C0E4348}" srcOrd="0" destOrd="0" presId="urn:microsoft.com/office/officeart/2005/8/layout/matrix1"/>
    <dgm:cxn modelId="{E4549CF2-073A-4C72-9E26-8953EEA7F62B}" type="presOf" srcId="{590AF6E2-34AF-4032-8CBB-10F92E8E5953}" destId="{509F5FB1-C51A-4978-9E47-84F2E8173BA4}" srcOrd="1" destOrd="0" presId="urn:microsoft.com/office/officeart/2005/8/layout/matrix1"/>
    <dgm:cxn modelId="{916BB9F5-3F5D-4929-841A-1FEB93FB2E3C}" srcId="{4213BB88-B4CF-439D-B997-3035CE8D033B}" destId="{E88E6460-6FD1-4F5C-92CB-D47B39F65AF4}" srcOrd="3" destOrd="0" parTransId="{799AD121-5B5F-4187-ABE1-FA9A59B12C12}" sibTransId="{2AB9934B-2151-4465-87A7-F27082BAA030}"/>
    <dgm:cxn modelId="{89EC1856-51D0-4359-BBD8-5474A6C482BA}" type="presParOf" srcId="{5F6563A1-3DE0-45B8-A6D5-B4DC8AC6E221}" destId="{9C479E54-4AF5-4C26-8E2A-B04A37E978BF}" srcOrd="0" destOrd="0" presId="urn:microsoft.com/office/officeart/2005/8/layout/matrix1"/>
    <dgm:cxn modelId="{AC257D4F-532C-4CEF-8E21-C2D99565BE4A}" type="presParOf" srcId="{9C479E54-4AF5-4C26-8E2A-B04A37E978BF}" destId="{F4C1DDB9-F2B8-4C3B-A02F-5194FA84D98C}" srcOrd="0" destOrd="0" presId="urn:microsoft.com/office/officeart/2005/8/layout/matrix1"/>
    <dgm:cxn modelId="{9EBB0E3E-352B-4D7F-96E8-18987ABFF130}" type="presParOf" srcId="{9C479E54-4AF5-4C26-8E2A-B04A37E978BF}" destId="{5D9598E1-6DAE-4279-8E5A-A10FF70AA7A2}" srcOrd="1" destOrd="0" presId="urn:microsoft.com/office/officeart/2005/8/layout/matrix1"/>
    <dgm:cxn modelId="{5DEE711B-DFCA-4848-8532-82DEB4C788EF}" type="presParOf" srcId="{9C479E54-4AF5-4C26-8E2A-B04A37E978BF}" destId="{EADA6913-86A5-4616-AE59-69CFC147CCC0}" srcOrd="2" destOrd="0" presId="urn:microsoft.com/office/officeart/2005/8/layout/matrix1"/>
    <dgm:cxn modelId="{94B3F01A-927B-43D4-B55F-763394AAEA24}" type="presParOf" srcId="{9C479E54-4AF5-4C26-8E2A-B04A37E978BF}" destId="{509F5FB1-C51A-4978-9E47-84F2E8173BA4}" srcOrd="3" destOrd="0" presId="urn:microsoft.com/office/officeart/2005/8/layout/matrix1"/>
    <dgm:cxn modelId="{8B628230-03E4-4829-9434-B9306047BAC2}" type="presParOf" srcId="{9C479E54-4AF5-4C26-8E2A-B04A37E978BF}" destId="{A410556E-9492-4823-A16D-E98FD02E9EB3}" srcOrd="4" destOrd="0" presId="urn:microsoft.com/office/officeart/2005/8/layout/matrix1"/>
    <dgm:cxn modelId="{4C5607E6-7506-434B-82FF-E079BC9D718E}" type="presParOf" srcId="{9C479E54-4AF5-4C26-8E2A-B04A37E978BF}" destId="{B4254A80-4492-4DDA-B89C-8F8A9C492C5C}" srcOrd="5" destOrd="0" presId="urn:microsoft.com/office/officeart/2005/8/layout/matrix1"/>
    <dgm:cxn modelId="{189FE06F-05FF-44C9-9412-6097FCBE9D7E}" type="presParOf" srcId="{9C479E54-4AF5-4C26-8E2A-B04A37E978BF}" destId="{E144C839-0A13-4FF9-8DE2-C7B93C0E4348}" srcOrd="6" destOrd="0" presId="urn:microsoft.com/office/officeart/2005/8/layout/matrix1"/>
    <dgm:cxn modelId="{7FF5BDF5-86DF-432B-B66D-862C9C78CA70}" type="presParOf" srcId="{9C479E54-4AF5-4C26-8E2A-B04A37E978BF}" destId="{0DA2BC78-AA4C-4D9C-A1CE-0991F19EC9C2}" srcOrd="7" destOrd="0" presId="urn:microsoft.com/office/officeart/2005/8/layout/matrix1"/>
    <dgm:cxn modelId="{27508BF7-6E40-4FBB-A1AD-FF6AFF13C9C4}" type="presParOf" srcId="{5F6563A1-3DE0-45B8-A6D5-B4DC8AC6E221}" destId="{6D0F8881-58F9-459C-8861-3B1FF8159351}" srcOrd="1" destOrd="0" presId="urn:microsoft.com/office/officeart/2005/8/layout/matrix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7DD9E4B-77D6-40EA-BCCC-4874D6074DFE}" type="doc">
      <dgm:prSet loTypeId="urn:microsoft.com/office/officeart/2005/8/layout/cycle6" loCatId="cycle" qsTypeId="urn:microsoft.com/office/officeart/2005/8/quickstyle/simple1#3" qsCatId="simple" csTypeId="urn:microsoft.com/office/officeart/2005/8/colors/colorful1#4" csCatId="colorful" phldr="1"/>
      <dgm:spPr/>
      <dgm:t>
        <a:bodyPr/>
        <a:lstStyle/>
        <a:p>
          <a:endParaRPr lang="zh-TW" altLang="en-US"/>
        </a:p>
      </dgm:t>
    </dgm:pt>
    <dgm:pt modelId="{2BCC0CAC-D7E7-4970-AB78-731692792365}">
      <dgm:prSet phldrT="[文字]" custT="1"/>
      <dgm:spPr>
        <a:solidFill>
          <a:srgbClr val="FFFF00"/>
        </a:solidFill>
        <a:ln w="28575">
          <a:solidFill>
            <a:srgbClr val="C00000"/>
          </a:solidFill>
        </a:ln>
      </dgm:spPr>
      <dgm:t>
        <a:bodyPr/>
        <a:lstStyle/>
        <a:p>
          <a:r>
            <a:rPr lang="zh-TW" altLang="en-US" sz="3200" b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素養導向</a:t>
          </a:r>
        </a:p>
      </dgm:t>
    </dgm:pt>
    <dgm:pt modelId="{CDB24D28-3A16-4CF8-A187-BB25E254E46A}" type="parTrans" cxnId="{06A69079-56E0-42FB-A97E-DA49EFA53EDF}">
      <dgm:prSet/>
      <dgm:spPr/>
      <dgm:t>
        <a:bodyPr/>
        <a:lstStyle/>
        <a:p>
          <a:endParaRPr lang="zh-TW" altLang="en-US"/>
        </a:p>
      </dgm:t>
    </dgm:pt>
    <dgm:pt modelId="{92152AA2-639A-444C-8D39-958A84DB1990}" type="sibTrans" cxnId="{06A69079-56E0-42FB-A97E-DA49EFA53EDF}">
      <dgm:prSet/>
      <dgm:spPr/>
      <dgm:t>
        <a:bodyPr/>
        <a:lstStyle/>
        <a:p>
          <a:endParaRPr lang="zh-TW" altLang="en-US">
            <a:latin typeface="標楷體" pitchFamily="65" charset="-120"/>
            <a:ea typeface="標楷體" pitchFamily="65" charset="-120"/>
          </a:endParaRPr>
        </a:p>
      </dgm:t>
    </dgm:pt>
    <dgm:pt modelId="{6AB2EDB3-28AF-45A5-A42D-68C8C052E00A}">
      <dgm:prSet phldrT="[文字]" custT="1"/>
      <dgm:spPr>
        <a:ln w="38100">
          <a:solidFill>
            <a:srgbClr val="C00000"/>
          </a:solidFill>
        </a:ln>
      </dgm:spPr>
      <dgm:t>
        <a:bodyPr/>
        <a:lstStyle/>
        <a:p>
          <a:r>
            <a:rPr lang="zh-TW" altLang="en-US" sz="3200" b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多元適性</a:t>
          </a:r>
        </a:p>
      </dgm:t>
    </dgm:pt>
    <dgm:pt modelId="{A230113F-057E-481D-9653-5D6A503F49DE}" type="parTrans" cxnId="{19ED4D35-2074-4CCE-BBEA-02EB9BF0F327}">
      <dgm:prSet/>
      <dgm:spPr/>
      <dgm:t>
        <a:bodyPr/>
        <a:lstStyle/>
        <a:p>
          <a:endParaRPr lang="zh-TW" altLang="en-US"/>
        </a:p>
      </dgm:t>
    </dgm:pt>
    <dgm:pt modelId="{DF0AC922-2C11-4E62-AD05-110195B8C28A}" type="sibTrans" cxnId="{19ED4D35-2074-4CCE-BBEA-02EB9BF0F327}">
      <dgm:prSet/>
      <dgm:spPr/>
      <dgm:t>
        <a:bodyPr/>
        <a:lstStyle/>
        <a:p>
          <a:endParaRPr lang="zh-TW" altLang="en-US">
            <a:latin typeface="標楷體" pitchFamily="65" charset="-120"/>
            <a:ea typeface="標楷體" pitchFamily="65" charset="-120"/>
          </a:endParaRPr>
        </a:p>
      </dgm:t>
    </dgm:pt>
    <dgm:pt modelId="{11320812-6503-441E-879E-13341694427E}">
      <dgm:prSet phldrT="[文字]" custT="1"/>
      <dgm:spPr>
        <a:solidFill>
          <a:srgbClr val="ED7D31"/>
        </a:solidFill>
        <a:ln w="28575">
          <a:solidFill>
            <a:srgbClr val="C00000"/>
          </a:solidFill>
        </a:ln>
      </dgm:spPr>
      <dgm:t>
        <a:bodyPr/>
        <a:lstStyle/>
        <a:p>
          <a:r>
            <a:rPr lang="zh-TW" altLang="en-US" sz="3200" b="0" dirty="0">
              <a:latin typeface="微軟正黑體" panose="020B0604030504040204" pitchFamily="34" charset="-120"/>
              <a:ea typeface="微軟正黑體" panose="020B0604030504040204" pitchFamily="34" charset="-120"/>
            </a:rPr>
            <a:t>連貫統整</a:t>
          </a:r>
        </a:p>
      </dgm:t>
    </dgm:pt>
    <dgm:pt modelId="{B94B57DA-5233-4C91-B37C-DA36AFFFF234}" type="parTrans" cxnId="{D0513952-2AEA-42BD-929A-3CF7682098E6}">
      <dgm:prSet/>
      <dgm:spPr/>
      <dgm:t>
        <a:bodyPr/>
        <a:lstStyle/>
        <a:p>
          <a:endParaRPr lang="zh-TW" altLang="en-US"/>
        </a:p>
      </dgm:t>
    </dgm:pt>
    <dgm:pt modelId="{996D5AF9-97C7-47C9-96C2-64410583F2E6}" type="sibTrans" cxnId="{D0513952-2AEA-42BD-929A-3CF7682098E6}">
      <dgm:prSet/>
      <dgm:spPr/>
      <dgm:t>
        <a:bodyPr/>
        <a:lstStyle/>
        <a:p>
          <a:endParaRPr lang="zh-TW" altLang="en-US">
            <a:latin typeface="標楷體" pitchFamily="65" charset="-120"/>
            <a:ea typeface="標楷體" pitchFamily="65" charset="-120"/>
          </a:endParaRPr>
        </a:p>
      </dgm:t>
    </dgm:pt>
    <dgm:pt modelId="{403D9C47-D833-4004-AABE-BD01E43A4962}">
      <dgm:prSet phldrT="[文字]" custT="1"/>
      <dgm:spPr>
        <a:solidFill>
          <a:schemeClr val="bg1">
            <a:lumMod val="65000"/>
          </a:schemeClr>
        </a:solidFill>
      </dgm:spPr>
      <dgm:t>
        <a:bodyPr/>
        <a:lstStyle/>
        <a:p>
          <a:r>
            <a:rPr lang="zh-TW" altLang="en-US" sz="3200" b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配套整合</a:t>
          </a:r>
        </a:p>
      </dgm:t>
    </dgm:pt>
    <dgm:pt modelId="{36955FE2-BDFA-41C9-8C37-54CCF216EA83}" type="parTrans" cxnId="{BF3D63B0-7444-48FB-9B0E-F07F9B4868F0}">
      <dgm:prSet/>
      <dgm:spPr/>
      <dgm:t>
        <a:bodyPr/>
        <a:lstStyle/>
        <a:p>
          <a:endParaRPr lang="zh-TW" altLang="en-US"/>
        </a:p>
      </dgm:t>
    </dgm:pt>
    <dgm:pt modelId="{D5271E6C-6569-4BA8-877E-2B14038D8612}" type="sibTrans" cxnId="{BF3D63B0-7444-48FB-9B0E-F07F9B4868F0}">
      <dgm:prSet/>
      <dgm:spPr/>
      <dgm:t>
        <a:bodyPr/>
        <a:lstStyle/>
        <a:p>
          <a:endParaRPr lang="zh-TW" altLang="en-US">
            <a:latin typeface="標楷體" pitchFamily="65" charset="-120"/>
            <a:ea typeface="標楷體" pitchFamily="65" charset="-120"/>
          </a:endParaRPr>
        </a:p>
      </dgm:t>
    </dgm:pt>
    <dgm:pt modelId="{61EDC155-5360-4CA4-806D-D8C6FB3B2857}">
      <dgm:prSet phldrT="[文字]" custT="1"/>
      <dgm:spPr/>
      <dgm:t>
        <a:bodyPr/>
        <a:lstStyle/>
        <a:p>
          <a:r>
            <a:rPr lang="zh-TW" altLang="en-US" sz="3200" b="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彈性活力</a:t>
          </a:r>
        </a:p>
      </dgm:t>
    </dgm:pt>
    <dgm:pt modelId="{E7969807-8FF3-413E-8D75-0D90F2FC8CAB}" type="sibTrans" cxnId="{E980B247-E9D3-454D-8132-C5033ABFF068}">
      <dgm:prSet/>
      <dgm:spPr/>
      <dgm:t>
        <a:bodyPr/>
        <a:lstStyle/>
        <a:p>
          <a:endParaRPr lang="zh-TW" altLang="en-US">
            <a:latin typeface="標楷體" pitchFamily="65" charset="-120"/>
            <a:ea typeface="標楷體" pitchFamily="65" charset="-120"/>
          </a:endParaRPr>
        </a:p>
      </dgm:t>
    </dgm:pt>
    <dgm:pt modelId="{22593FFA-88A8-44A3-A04D-AE8CFC2567D9}" type="parTrans" cxnId="{E980B247-E9D3-454D-8132-C5033ABFF068}">
      <dgm:prSet/>
      <dgm:spPr/>
      <dgm:t>
        <a:bodyPr/>
        <a:lstStyle/>
        <a:p>
          <a:endParaRPr lang="zh-TW" altLang="en-US"/>
        </a:p>
      </dgm:t>
    </dgm:pt>
    <dgm:pt modelId="{AE477167-8651-4BAD-BED5-3E43C2D01E7D}" type="pres">
      <dgm:prSet presAssocID="{C7DD9E4B-77D6-40EA-BCCC-4874D6074DFE}" presName="cycle" presStyleCnt="0">
        <dgm:presLayoutVars>
          <dgm:dir/>
          <dgm:resizeHandles val="exact"/>
        </dgm:presLayoutVars>
      </dgm:prSet>
      <dgm:spPr/>
    </dgm:pt>
    <dgm:pt modelId="{5FA76436-0714-40A9-BFE4-71D927E2F895}" type="pres">
      <dgm:prSet presAssocID="{2BCC0CAC-D7E7-4970-AB78-731692792365}" presName="node" presStyleLbl="node1" presStyleIdx="0" presStyleCnt="5" custScaleX="132479" custRadScaleRad="102525" custRadScaleInc="-10134">
        <dgm:presLayoutVars>
          <dgm:bulletEnabled val="1"/>
        </dgm:presLayoutVars>
      </dgm:prSet>
      <dgm:spPr/>
    </dgm:pt>
    <dgm:pt modelId="{B1931809-C88C-46FB-97FA-03D0915DB6F3}" type="pres">
      <dgm:prSet presAssocID="{2BCC0CAC-D7E7-4970-AB78-731692792365}" presName="spNode" presStyleCnt="0"/>
      <dgm:spPr/>
    </dgm:pt>
    <dgm:pt modelId="{8E78EEC7-8339-4245-AE14-50F6EA9EAEB0}" type="pres">
      <dgm:prSet presAssocID="{92152AA2-639A-444C-8D39-958A84DB1990}" presName="sibTrans" presStyleLbl="sibTrans1D1" presStyleIdx="0" presStyleCnt="5"/>
      <dgm:spPr/>
    </dgm:pt>
    <dgm:pt modelId="{79125D34-94AF-44A6-BADF-7753F4A6D10A}" type="pres">
      <dgm:prSet presAssocID="{61EDC155-5360-4CA4-806D-D8C6FB3B2857}" presName="node" presStyleLbl="node1" presStyleIdx="1" presStyleCnt="5" custScaleX="119208" custScaleY="100000" custRadScaleRad="103531" custRadScaleInc="-34339">
        <dgm:presLayoutVars>
          <dgm:bulletEnabled val="1"/>
        </dgm:presLayoutVars>
      </dgm:prSet>
      <dgm:spPr/>
    </dgm:pt>
    <dgm:pt modelId="{759F6153-CC25-4878-A559-34B03E7E470C}" type="pres">
      <dgm:prSet presAssocID="{61EDC155-5360-4CA4-806D-D8C6FB3B2857}" presName="spNode" presStyleCnt="0"/>
      <dgm:spPr/>
    </dgm:pt>
    <dgm:pt modelId="{EF7D8736-F10C-4F96-8413-249B49891B2E}" type="pres">
      <dgm:prSet presAssocID="{E7969807-8FF3-413E-8D75-0D90F2FC8CAB}" presName="sibTrans" presStyleLbl="sibTrans1D1" presStyleIdx="1" presStyleCnt="5"/>
      <dgm:spPr/>
    </dgm:pt>
    <dgm:pt modelId="{D7EAB9C6-C45F-4D48-B1CC-4A0FF9D6906E}" type="pres">
      <dgm:prSet presAssocID="{6AB2EDB3-28AF-45A5-A42D-68C8C052E00A}" presName="node" presStyleLbl="node1" presStyleIdx="2" presStyleCnt="5" custScaleX="135473" custScaleY="87423" custRadScaleRad="84709" custRadScaleInc="-82564">
        <dgm:presLayoutVars>
          <dgm:bulletEnabled val="1"/>
        </dgm:presLayoutVars>
      </dgm:prSet>
      <dgm:spPr/>
    </dgm:pt>
    <dgm:pt modelId="{72164AEA-5017-4518-88E2-F079E99BD046}" type="pres">
      <dgm:prSet presAssocID="{6AB2EDB3-28AF-45A5-A42D-68C8C052E00A}" presName="spNode" presStyleCnt="0"/>
      <dgm:spPr/>
    </dgm:pt>
    <dgm:pt modelId="{AC5E532D-E9A8-4E51-8C37-264AA576B324}" type="pres">
      <dgm:prSet presAssocID="{DF0AC922-2C11-4E62-AD05-110195B8C28A}" presName="sibTrans" presStyleLbl="sibTrans1D1" presStyleIdx="2" presStyleCnt="5"/>
      <dgm:spPr/>
    </dgm:pt>
    <dgm:pt modelId="{8ABF3B8D-0461-4746-B6F8-993FB7EA6B3C}" type="pres">
      <dgm:prSet presAssocID="{11320812-6503-441E-879E-13341694427E}" presName="node" presStyleLbl="node1" presStyleIdx="3" presStyleCnt="5" custScaleX="140598" custScaleY="87632" custRadScaleRad="93816" custRadScaleInc="99572">
        <dgm:presLayoutVars>
          <dgm:bulletEnabled val="1"/>
        </dgm:presLayoutVars>
      </dgm:prSet>
      <dgm:spPr/>
    </dgm:pt>
    <dgm:pt modelId="{6AC098AC-DC82-49C3-B090-4F37775428B4}" type="pres">
      <dgm:prSet presAssocID="{11320812-6503-441E-879E-13341694427E}" presName="spNode" presStyleCnt="0"/>
      <dgm:spPr/>
    </dgm:pt>
    <dgm:pt modelId="{8412900E-D6C5-4453-BE45-A6AE4056D28A}" type="pres">
      <dgm:prSet presAssocID="{996D5AF9-97C7-47C9-96C2-64410583F2E6}" presName="sibTrans" presStyleLbl="sibTrans1D1" presStyleIdx="3" presStyleCnt="5"/>
      <dgm:spPr/>
    </dgm:pt>
    <dgm:pt modelId="{3CB1B4FD-ADB1-4BBE-93D6-851FAB81D2A0}" type="pres">
      <dgm:prSet presAssocID="{403D9C47-D833-4004-AABE-BD01E43A4962}" presName="node" presStyleLbl="node1" presStyleIdx="4" presStyleCnt="5" custScaleX="132479" custRadScaleRad="112639" custRadScaleInc="3075">
        <dgm:presLayoutVars>
          <dgm:bulletEnabled val="1"/>
        </dgm:presLayoutVars>
      </dgm:prSet>
      <dgm:spPr/>
    </dgm:pt>
    <dgm:pt modelId="{D83DEDF0-C66C-40C8-96CA-69D807E79074}" type="pres">
      <dgm:prSet presAssocID="{403D9C47-D833-4004-AABE-BD01E43A4962}" presName="spNode" presStyleCnt="0"/>
      <dgm:spPr/>
    </dgm:pt>
    <dgm:pt modelId="{BE1EE3AD-6C86-43EE-BE46-EEAD2F8AC26F}" type="pres">
      <dgm:prSet presAssocID="{D5271E6C-6569-4BA8-877E-2B14038D8612}" presName="sibTrans" presStyleLbl="sibTrans1D1" presStyleIdx="4" presStyleCnt="5"/>
      <dgm:spPr/>
    </dgm:pt>
  </dgm:ptLst>
  <dgm:cxnLst>
    <dgm:cxn modelId="{FBFFD611-5B59-4860-A303-75F61E832188}" type="presOf" srcId="{11320812-6503-441E-879E-13341694427E}" destId="{8ABF3B8D-0461-4746-B6F8-993FB7EA6B3C}" srcOrd="0" destOrd="0" presId="urn:microsoft.com/office/officeart/2005/8/layout/cycle6"/>
    <dgm:cxn modelId="{19ED4D35-2074-4CCE-BBEA-02EB9BF0F327}" srcId="{C7DD9E4B-77D6-40EA-BCCC-4874D6074DFE}" destId="{6AB2EDB3-28AF-45A5-A42D-68C8C052E00A}" srcOrd="2" destOrd="0" parTransId="{A230113F-057E-481D-9653-5D6A503F49DE}" sibTransId="{DF0AC922-2C11-4E62-AD05-110195B8C28A}"/>
    <dgm:cxn modelId="{87F2995E-7A9F-44E7-9A38-57D3CD93B01C}" type="presOf" srcId="{2BCC0CAC-D7E7-4970-AB78-731692792365}" destId="{5FA76436-0714-40A9-BFE4-71D927E2F895}" srcOrd="0" destOrd="0" presId="urn:microsoft.com/office/officeart/2005/8/layout/cycle6"/>
    <dgm:cxn modelId="{017C2F61-CF84-43EC-B810-2C4EA5DBCA83}" type="presOf" srcId="{6AB2EDB3-28AF-45A5-A42D-68C8C052E00A}" destId="{D7EAB9C6-C45F-4D48-B1CC-4A0FF9D6906E}" srcOrd="0" destOrd="0" presId="urn:microsoft.com/office/officeart/2005/8/layout/cycle6"/>
    <dgm:cxn modelId="{A2A8A645-CE26-4100-997C-3626C4B558B3}" type="presOf" srcId="{D5271E6C-6569-4BA8-877E-2B14038D8612}" destId="{BE1EE3AD-6C86-43EE-BE46-EEAD2F8AC26F}" srcOrd="0" destOrd="0" presId="urn:microsoft.com/office/officeart/2005/8/layout/cycle6"/>
    <dgm:cxn modelId="{E980B247-E9D3-454D-8132-C5033ABFF068}" srcId="{C7DD9E4B-77D6-40EA-BCCC-4874D6074DFE}" destId="{61EDC155-5360-4CA4-806D-D8C6FB3B2857}" srcOrd="1" destOrd="0" parTransId="{22593FFA-88A8-44A3-A04D-AE8CFC2567D9}" sibTransId="{E7969807-8FF3-413E-8D75-0D90F2FC8CAB}"/>
    <dgm:cxn modelId="{1418326A-0818-4645-9C56-4FAD61867997}" type="presOf" srcId="{C7DD9E4B-77D6-40EA-BCCC-4874D6074DFE}" destId="{AE477167-8651-4BAD-BED5-3E43C2D01E7D}" srcOrd="0" destOrd="0" presId="urn:microsoft.com/office/officeart/2005/8/layout/cycle6"/>
    <dgm:cxn modelId="{21497D4B-D051-428B-9C86-7F3D81CDF497}" type="presOf" srcId="{403D9C47-D833-4004-AABE-BD01E43A4962}" destId="{3CB1B4FD-ADB1-4BBE-93D6-851FAB81D2A0}" srcOrd="0" destOrd="0" presId="urn:microsoft.com/office/officeart/2005/8/layout/cycle6"/>
    <dgm:cxn modelId="{D0513952-2AEA-42BD-929A-3CF7682098E6}" srcId="{C7DD9E4B-77D6-40EA-BCCC-4874D6074DFE}" destId="{11320812-6503-441E-879E-13341694427E}" srcOrd="3" destOrd="0" parTransId="{B94B57DA-5233-4C91-B37C-DA36AFFFF234}" sibTransId="{996D5AF9-97C7-47C9-96C2-64410583F2E6}"/>
    <dgm:cxn modelId="{978BE452-7E51-4D8E-8BE3-4F063BE8BE02}" type="presOf" srcId="{DF0AC922-2C11-4E62-AD05-110195B8C28A}" destId="{AC5E532D-E9A8-4E51-8C37-264AA576B324}" srcOrd="0" destOrd="0" presId="urn:microsoft.com/office/officeart/2005/8/layout/cycle6"/>
    <dgm:cxn modelId="{91969454-35A7-4410-BF90-C8236F3B5A74}" type="presOf" srcId="{E7969807-8FF3-413E-8D75-0D90F2FC8CAB}" destId="{EF7D8736-F10C-4F96-8413-249B49891B2E}" srcOrd="0" destOrd="0" presId="urn:microsoft.com/office/officeart/2005/8/layout/cycle6"/>
    <dgm:cxn modelId="{06A69079-56E0-42FB-A97E-DA49EFA53EDF}" srcId="{C7DD9E4B-77D6-40EA-BCCC-4874D6074DFE}" destId="{2BCC0CAC-D7E7-4970-AB78-731692792365}" srcOrd="0" destOrd="0" parTransId="{CDB24D28-3A16-4CF8-A187-BB25E254E46A}" sibTransId="{92152AA2-639A-444C-8D39-958A84DB1990}"/>
    <dgm:cxn modelId="{D6541D82-DB14-4E59-9D09-75AC798116DE}" type="presOf" srcId="{92152AA2-639A-444C-8D39-958A84DB1990}" destId="{8E78EEC7-8339-4245-AE14-50F6EA9EAEB0}" srcOrd="0" destOrd="0" presId="urn:microsoft.com/office/officeart/2005/8/layout/cycle6"/>
    <dgm:cxn modelId="{BF3D63B0-7444-48FB-9B0E-F07F9B4868F0}" srcId="{C7DD9E4B-77D6-40EA-BCCC-4874D6074DFE}" destId="{403D9C47-D833-4004-AABE-BD01E43A4962}" srcOrd="4" destOrd="0" parTransId="{36955FE2-BDFA-41C9-8C37-54CCF216EA83}" sibTransId="{D5271E6C-6569-4BA8-877E-2B14038D8612}"/>
    <dgm:cxn modelId="{AEFA8EDD-D5CC-48E7-9AAC-E408633A6569}" type="presOf" srcId="{996D5AF9-97C7-47C9-96C2-64410583F2E6}" destId="{8412900E-D6C5-4453-BE45-A6AE4056D28A}" srcOrd="0" destOrd="0" presId="urn:microsoft.com/office/officeart/2005/8/layout/cycle6"/>
    <dgm:cxn modelId="{FEBD97F0-6CD7-45E6-A004-BD8D3C957B10}" type="presOf" srcId="{61EDC155-5360-4CA4-806D-D8C6FB3B2857}" destId="{79125D34-94AF-44A6-BADF-7753F4A6D10A}" srcOrd="0" destOrd="0" presId="urn:microsoft.com/office/officeart/2005/8/layout/cycle6"/>
    <dgm:cxn modelId="{E78BA84C-20EB-4AF8-8198-6310CCE8F008}" type="presParOf" srcId="{AE477167-8651-4BAD-BED5-3E43C2D01E7D}" destId="{5FA76436-0714-40A9-BFE4-71D927E2F895}" srcOrd="0" destOrd="0" presId="urn:microsoft.com/office/officeart/2005/8/layout/cycle6"/>
    <dgm:cxn modelId="{5B7D5F46-1186-42E1-89EA-3EE2E6BCEB05}" type="presParOf" srcId="{AE477167-8651-4BAD-BED5-3E43C2D01E7D}" destId="{B1931809-C88C-46FB-97FA-03D0915DB6F3}" srcOrd="1" destOrd="0" presId="urn:microsoft.com/office/officeart/2005/8/layout/cycle6"/>
    <dgm:cxn modelId="{570F9B7E-ECAB-478A-B088-41D36BD6B175}" type="presParOf" srcId="{AE477167-8651-4BAD-BED5-3E43C2D01E7D}" destId="{8E78EEC7-8339-4245-AE14-50F6EA9EAEB0}" srcOrd="2" destOrd="0" presId="urn:microsoft.com/office/officeart/2005/8/layout/cycle6"/>
    <dgm:cxn modelId="{360BEA37-C1B7-4726-93B0-06653092C9A6}" type="presParOf" srcId="{AE477167-8651-4BAD-BED5-3E43C2D01E7D}" destId="{79125D34-94AF-44A6-BADF-7753F4A6D10A}" srcOrd="3" destOrd="0" presId="urn:microsoft.com/office/officeart/2005/8/layout/cycle6"/>
    <dgm:cxn modelId="{98597446-9D9F-4DE7-AE59-63A982E9EDEE}" type="presParOf" srcId="{AE477167-8651-4BAD-BED5-3E43C2D01E7D}" destId="{759F6153-CC25-4878-A559-34B03E7E470C}" srcOrd="4" destOrd="0" presId="urn:microsoft.com/office/officeart/2005/8/layout/cycle6"/>
    <dgm:cxn modelId="{31E42DD9-F79C-4F6A-8181-F996A6144425}" type="presParOf" srcId="{AE477167-8651-4BAD-BED5-3E43C2D01E7D}" destId="{EF7D8736-F10C-4F96-8413-249B49891B2E}" srcOrd="5" destOrd="0" presId="urn:microsoft.com/office/officeart/2005/8/layout/cycle6"/>
    <dgm:cxn modelId="{5A1F4B28-B158-4C69-B6D1-B1204F37BDB6}" type="presParOf" srcId="{AE477167-8651-4BAD-BED5-3E43C2D01E7D}" destId="{D7EAB9C6-C45F-4D48-B1CC-4A0FF9D6906E}" srcOrd="6" destOrd="0" presId="urn:microsoft.com/office/officeart/2005/8/layout/cycle6"/>
    <dgm:cxn modelId="{48324E4F-0B99-4BA0-85C9-0762281F10F6}" type="presParOf" srcId="{AE477167-8651-4BAD-BED5-3E43C2D01E7D}" destId="{72164AEA-5017-4518-88E2-F079E99BD046}" srcOrd="7" destOrd="0" presId="urn:microsoft.com/office/officeart/2005/8/layout/cycle6"/>
    <dgm:cxn modelId="{D3E9A8E0-8545-4843-B34D-87F70D63DA2F}" type="presParOf" srcId="{AE477167-8651-4BAD-BED5-3E43C2D01E7D}" destId="{AC5E532D-E9A8-4E51-8C37-264AA576B324}" srcOrd="8" destOrd="0" presId="urn:microsoft.com/office/officeart/2005/8/layout/cycle6"/>
    <dgm:cxn modelId="{2FCF4401-BAFC-4537-B060-8A0A584DB400}" type="presParOf" srcId="{AE477167-8651-4BAD-BED5-3E43C2D01E7D}" destId="{8ABF3B8D-0461-4746-B6F8-993FB7EA6B3C}" srcOrd="9" destOrd="0" presId="urn:microsoft.com/office/officeart/2005/8/layout/cycle6"/>
    <dgm:cxn modelId="{F6B23B9A-0FD0-497C-8FAE-28AEFAA4A935}" type="presParOf" srcId="{AE477167-8651-4BAD-BED5-3E43C2D01E7D}" destId="{6AC098AC-DC82-49C3-B090-4F37775428B4}" srcOrd="10" destOrd="0" presId="urn:microsoft.com/office/officeart/2005/8/layout/cycle6"/>
    <dgm:cxn modelId="{5432E3AB-57D5-4305-B028-81EC1DF42862}" type="presParOf" srcId="{AE477167-8651-4BAD-BED5-3E43C2D01E7D}" destId="{8412900E-D6C5-4453-BE45-A6AE4056D28A}" srcOrd="11" destOrd="0" presId="urn:microsoft.com/office/officeart/2005/8/layout/cycle6"/>
    <dgm:cxn modelId="{7F52F286-8823-4FDB-B9EB-5F4ED2D43608}" type="presParOf" srcId="{AE477167-8651-4BAD-BED5-3E43C2D01E7D}" destId="{3CB1B4FD-ADB1-4BBE-93D6-851FAB81D2A0}" srcOrd="12" destOrd="0" presId="urn:microsoft.com/office/officeart/2005/8/layout/cycle6"/>
    <dgm:cxn modelId="{F49C97FA-DE73-4B9B-BD6C-80D9C226D5BF}" type="presParOf" srcId="{AE477167-8651-4BAD-BED5-3E43C2D01E7D}" destId="{D83DEDF0-C66C-40C8-96CA-69D807E79074}" srcOrd="13" destOrd="0" presId="urn:microsoft.com/office/officeart/2005/8/layout/cycle6"/>
    <dgm:cxn modelId="{8FA421AD-713F-4DDD-A543-AAB89A955D89}" type="presParOf" srcId="{AE477167-8651-4BAD-BED5-3E43C2D01E7D}" destId="{BE1EE3AD-6C86-43EE-BE46-EEAD2F8AC26F}" srcOrd="14" destOrd="0" presId="urn:microsoft.com/office/officeart/2005/8/layout/cycle6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972606D8-F590-45F3-9E8F-EF07085D4929}" type="doc">
      <dgm:prSet loTypeId="urn:microsoft.com/office/officeart/2005/8/layout/radial4" loCatId="relationship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zh-TW" altLang="en-US"/>
        </a:p>
      </dgm:t>
    </dgm:pt>
    <dgm:pt modelId="{E30592A0-698E-453A-A817-FAEE88414F6E}">
      <dgm:prSet phldrT="[文字]" custT="1"/>
      <dgm:spPr>
        <a:solidFill>
          <a:schemeClr val="accent2"/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zh-TW" altLang="en-US" sz="2800" b="1" dirty="0">
              <a:latin typeface="微軟正黑體" panose="020B0604030504040204" pitchFamily="34" charset="-120"/>
              <a:ea typeface="微軟正黑體" panose="020B0604030504040204" pitchFamily="34" charset="-120"/>
            </a:rPr>
            <a:t>落實</a:t>
          </a:r>
          <a:endParaRPr lang="en-US" altLang="zh-TW" sz="2800" b="1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TW" altLang="en-US" sz="2800" b="1" dirty="0">
              <a:latin typeface="微軟正黑體" panose="020B0604030504040204" pitchFamily="34" charset="-120"/>
              <a:ea typeface="微軟正黑體" panose="020B0604030504040204" pitchFamily="34" charset="-120"/>
            </a:rPr>
            <a:t>探究學習</a:t>
          </a:r>
        </a:p>
      </dgm:t>
    </dgm:pt>
    <dgm:pt modelId="{5CDF109D-6EF0-490B-8240-885A1B7A6F24}" type="parTrans" cxnId="{D0DC4785-AC45-408C-855B-311FD6EDE3E8}">
      <dgm:prSet/>
      <dgm:spPr/>
      <dgm:t>
        <a:bodyPr/>
        <a:lstStyle/>
        <a:p>
          <a:endParaRPr lang="zh-TW" altLang="en-US"/>
        </a:p>
      </dgm:t>
    </dgm:pt>
    <dgm:pt modelId="{95D636A4-0282-43F5-B5D1-A14C2CD49DC0}" type="sibTrans" cxnId="{D0DC4785-AC45-408C-855B-311FD6EDE3E8}">
      <dgm:prSet/>
      <dgm:spPr/>
      <dgm:t>
        <a:bodyPr/>
        <a:lstStyle/>
        <a:p>
          <a:endParaRPr lang="zh-TW" altLang="en-US"/>
        </a:p>
      </dgm:t>
    </dgm:pt>
    <dgm:pt modelId="{48784AE5-9CB9-4AEE-9C8F-8BF296EE3A61}">
      <dgm:prSet phldrT="[文字]"/>
      <dgm:spPr/>
      <dgm:t>
        <a:bodyPr/>
        <a:lstStyle/>
        <a:p>
          <a:pPr algn="just"/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依據課綱、結合各地區特色，設計具有探究精神與重視提問的有效教學。</a:t>
          </a:r>
        </a:p>
      </dgm:t>
    </dgm:pt>
    <dgm:pt modelId="{D6F29908-18F5-4832-BFC2-10B75A00EBA2}" type="parTrans" cxnId="{3D6C13D3-ED8B-4441-B945-C55BAD578D77}">
      <dgm:prSet/>
      <dgm:spPr/>
      <dgm:t>
        <a:bodyPr/>
        <a:lstStyle/>
        <a:p>
          <a:endParaRPr lang="zh-TW" altLang="en-US"/>
        </a:p>
      </dgm:t>
    </dgm:pt>
    <dgm:pt modelId="{A172E7B3-6A84-4B45-9215-50267A7ACBEF}" type="sibTrans" cxnId="{3D6C13D3-ED8B-4441-B945-C55BAD578D77}">
      <dgm:prSet/>
      <dgm:spPr/>
      <dgm:t>
        <a:bodyPr/>
        <a:lstStyle/>
        <a:p>
          <a:endParaRPr lang="zh-TW" altLang="en-US"/>
        </a:p>
      </dgm:t>
    </dgm:pt>
    <dgm:pt modelId="{9877464C-E6D7-49FE-AC32-9293D4F50A04}">
      <dgm:prSet phldrT="[文字]"/>
      <dgm:spPr/>
      <dgm:t>
        <a:bodyPr/>
        <a:lstStyle/>
        <a:p>
          <a:pPr algn="just"/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應以開放多元的態度，強調民主社會中理性溝通、尊重差異的重要性。</a:t>
          </a:r>
        </a:p>
      </dgm:t>
    </dgm:pt>
    <dgm:pt modelId="{6BD2E590-9561-4870-8841-D56A8DF4E430}" type="parTrans" cxnId="{747B463C-7B94-4060-B6D5-4C725F1181EE}">
      <dgm:prSet/>
      <dgm:spPr/>
      <dgm:t>
        <a:bodyPr/>
        <a:lstStyle/>
        <a:p>
          <a:endParaRPr lang="zh-TW" altLang="en-US"/>
        </a:p>
      </dgm:t>
    </dgm:pt>
    <dgm:pt modelId="{1CB896DD-9916-4967-A3D8-1A3C3FEEDBB4}" type="sibTrans" cxnId="{747B463C-7B94-4060-B6D5-4C725F1181EE}">
      <dgm:prSet/>
      <dgm:spPr/>
      <dgm:t>
        <a:bodyPr/>
        <a:lstStyle/>
        <a:p>
          <a:endParaRPr lang="zh-TW" altLang="en-US"/>
        </a:p>
      </dgm:t>
    </dgm:pt>
    <dgm:pt modelId="{D4AD8AED-A693-4B11-85D0-D92EC09E1DC4}">
      <dgm:prSet phldrT="[文字]"/>
      <dgm:spPr/>
      <dgm:t>
        <a:bodyPr/>
        <a:lstStyle/>
        <a:p>
          <a:pPr algn="just"/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強化課程的整合與應用，彈性實施歷史考察、田野實察或其他形式的探究學習。</a:t>
          </a:r>
        </a:p>
      </dgm:t>
    </dgm:pt>
    <dgm:pt modelId="{1F122E1E-D85C-460B-9E15-90712F767896}" type="parTrans" cxnId="{0DB6ADAB-708F-4A05-ACAF-CDE6C1EF91C6}">
      <dgm:prSet/>
      <dgm:spPr/>
      <dgm:t>
        <a:bodyPr/>
        <a:lstStyle/>
        <a:p>
          <a:endParaRPr lang="zh-TW" altLang="en-US"/>
        </a:p>
      </dgm:t>
    </dgm:pt>
    <dgm:pt modelId="{4ADC64C5-1353-4031-8AE1-60A2004A5D8E}" type="sibTrans" cxnId="{0DB6ADAB-708F-4A05-ACAF-CDE6C1EF91C6}">
      <dgm:prSet/>
      <dgm:spPr/>
      <dgm:t>
        <a:bodyPr/>
        <a:lstStyle/>
        <a:p>
          <a:endParaRPr lang="zh-TW" altLang="en-US"/>
        </a:p>
      </dgm:t>
    </dgm:pt>
    <dgm:pt modelId="{FD5DACA8-621D-496A-8528-9EE73441D095}" type="pres">
      <dgm:prSet presAssocID="{972606D8-F590-45F3-9E8F-EF07085D4929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8A952651-1CC1-4659-88EA-22075D3F2BC0}" type="pres">
      <dgm:prSet presAssocID="{E30592A0-698E-453A-A817-FAEE88414F6E}" presName="centerShape" presStyleLbl="node0" presStyleIdx="0" presStyleCnt="1"/>
      <dgm:spPr/>
    </dgm:pt>
    <dgm:pt modelId="{F3F6FA02-A9CC-460D-A4CC-51964A512C71}" type="pres">
      <dgm:prSet presAssocID="{D6F29908-18F5-4832-BFC2-10B75A00EBA2}" presName="parTrans" presStyleLbl="bgSibTrans2D1" presStyleIdx="0" presStyleCnt="3"/>
      <dgm:spPr/>
    </dgm:pt>
    <dgm:pt modelId="{0312DF9D-F6E8-468C-81B0-1F4D7C4B53B5}" type="pres">
      <dgm:prSet presAssocID="{48784AE5-9CB9-4AEE-9C8F-8BF296EE3A61}" presName="node" presStyleLbl="node1" presStyleIdx="0" presStyleCnt="3" custScaleX="123693" custRadScaleRad="112168" custRadScaleInc="-1392">
        <dgm:presLayoutVars>
          <dgm:bulletEnabled val="1"/>
        </dgm:presLayoutVars>
      </dgm:prSet>
      <dgm:spPr/>
    </dgm:pt>
    <dgm:pt modelId="{807EF3C9-8EC0-41AD-A01D-35393BF6E553}" type="pres">
      <dgm:prSet presAssocID="{6BD2E590-9561-4870-8841-D56A8DF4E430}" presName="parTrans" presStyleLbl="bgSibTrans2D1" presStyleIdx="1" presStyleCnt="3"/>
      <dgm:spPr/>
    </dgm:pt>
    <dgm:pt modelId="{0D9C3128-8D18-4BCD-9DCD-1B1BC2930C0C}" type="pres">
      <dgm:prSet presAssocID="{9877464C-E6D7-49FE-AC32-9293D4F50A04}" presName="node" presStyleLbl="node1" presStyleIdx="1" presStyleCnt="3" custScaleX="120364" custRadScaleRad="94983" custRadScaleInc="219">
        <dgm:presLayoutVars>
          <dgm:bulletEnabled val="1"/>
        </dgm:presLayoutVars>
      </dgm:prSet>
      <dgm:spPr/>
    </dgm:pt>
    <dgm:pt modelId="{1AD82CD2-883E-4810-BE26-8CA486291B9E}" type="pres">
      <dgm:prSet presAssocID="{1F122E1E-D85C-460B-9E15-90712F767896}" presName="parTrans" presStyleLbl="bgSibTrans2D1" presStyleIdx="2" presStyleCnt="3"/>
      <dgm:spPr/>
    </dgm:pt>
    <dgm:pt modelId="{D6BE55E8-B146-4C69-897B-2147251258BD}" type="pres">
      <dgm:prSet presAssocID="{D4AD8AED-A693-4B11-85D0-D92EC09E1DC4}" presName="node" presStyleLbl="node1" presStyleIdx="2" presStyleCnt="3" custScaleX="115606" custScaleY="95161" custRadScaleRad="108194" custRadScaleInc="1766">
        <dgm:presLayoutVars>
          <dgm:bulletEnabled val="1"/>
        </dgm:presLayoutVars>
      </dgm:prSet>
      <dgm:spPr/>
    </dgm:pt>
  </dgm:ptLst>
  <dgm:cxnLst>
    <dgm:cxn modelId="{0A2F550D-70F1-4C5F-8943-1E608689C718}" type="presOf" srcId="{9877464C-E6D7-49FE-AC32-9293D4F50A04}" destId="{0D9C3128-8D18-4BCD-9DCD-1B1BC2930C0C}" srcOrd="0" destOrd="0" presId="urn:microsoft.com/office/officeart/2005/8/layout/radial4"/>
    <dgm:cxn modelId="{9787510F-5288-426D-BE89-79D4401AB283}" type="presOf" srcId="{6BD2E590-9561-4870-8841-D56A8DF4E430}" destId="{807EF3C9-8EC0-41AD-A01D-35393BF6E553}" srcOrd="0" destOrd="0" presId="urn:microsoft.com/office/officeart/2005/8/layout/radial4"/>
    <dgm:cxn modelId="{747B463C-7B94-4060-B6D5-4C725F1181EE}" srcId="{E30592A0-698E-453A-A817-FAEE88414F6E}" destId="{9877464C-E6D7-49FE-AC32-9293D4F50A04}" srcOrd="1" destOrd="0" parTransId="{6BD2E590-9561-4870-8841-D56A8DF4E430}" sibTransId="{1CB896DD-9916-4967-A3D8-1A3C3FEEDBB4}"/>
    <dgm:cxn modelId="{31ED3861-FF8F-4ED5-97B8-58ABCD55378A}" type="presOf" srcId="{972606D8-F590-45F3-9E8F-EF07085D4929}" destId="{FD5DACA8-621D-496A-8528-9EE73441D095}" srcOrd="0" destOrd="0" presId="urn:microsoft.com/office/officeart/2005/8/layout/radial4"/>
    <dgm:cxn modelId="{37E49255-0346-42D5-97E9-BE4668B5FD96}" type="presOf" srcId="{D6F29908-18F5-4832-BFC2-10B75A00EBA2}" destId="{F3F6FA02-A9CC-460D-A4CC-51964A512C71}" srcOrd="0" destOrd="0" presId="urn:microsoft.com/office/officeart/2005/8/layout/radial4"/>
    <dgm:cxn modelId="{D0DC4785-AC45-408C-855B-311FD6EDE3E8}" srcId="{972606D8-F590-45F3-9E8F-EF07085D4929}" destId="{E30592A0-698E-453A-A817-FAEE88414F6E}" srcOrd="0" destOrd="0" parTransId="{5CDF109D-6EF0-490B-8240-885A1B7A6F24}" sibTransId="{95D636A4-0282-43F5-B5D1-A14C2CD49DC0}"/>
    <dgm:cxn modelId="{0DB6ADAB-708F-4A05-ACAF-CDE6C1EF91C6}" srcId="{E30592A0-698E-453A-A817-FAEE88414F6E}" destId="{D4AD8AED-A693-4B11-85D0-D92EC09E1DC4}" srcOrd="2" destOrd="0" parTransId="{1F122E1E-D85C-460B-9E15-90712F767896}" sibTransId="{4ADC64C5-1353-4031-8AE1-60A2004A5D8E}"/>
    <dgm:cxn modelId="{30606BAD-F087-4B25-989B-CC7D2E3A54D1}" type="presOf" srcId="{D4AD8AED-A693-4B11-85D0-D92EC09E1DC4}" destId="{D6BE55E8-B146-4C69-897B-2147251258BD}" srcOrd="0" destOrd="0" presId="urn:microsoft.com/office/officeart/2005/8/layout/radial4"/>
    <dgm:cxn modelId="{3D6C13D3-ED8B-4441-B945-C55BAD578D77}" srcId="{E30592A0-698E-453A-A817-FAEE88414F6E}" destId="{48784AE5-9CB9-4AEE-9C8F-8BF296EE3A61}" srcOrd="0" destOrd="0" parTransId="{D6F29908-18F5-4832-BFC2-10B75A00EBA2}" sibTransId="{A172E7B3-6A84-4B45-9215-50267A7ACBEF}"/>
    <dgm:cxn modelId="{CACCE3D6-87A2-40A3-B51F-6C658409E969}" type="presOf" srcId="{1F122E1E-D85C-460B-9E15-90712F767896}" destId="{1AD82CD2-883E-4810-BE26-8CA486291B9E}" srcOrd="0" destOrd="0" presId="urn:microsoft.com/office/officeart/2005/8/layout/radial4"/>
    <dgm:cxn modelId="{7115C6DB-D959-43D0-9B98-64DE12034939}" type="presOf" srcId="{48784AE5-9CB9-4AEE-9C8F-8BF296EE3A61}" destId="{0312DF9D-F6E8-468C-81B0-1F4D7C4B53B5}" srcOrd="0" destOrd="0" presId="urn:microsoft.com/office/officeart/2005/8/layout/radial4"/>
    <dgm:cxn modelId="{E27AA9DE-CB91-4446-B756-22242486ACEE}" type="presOf" srcId="{E30592A0-698E-453A-A817-FAEE88414F6E}" destId="{8A952651-1CC1-4659-88EA-22075D3F2BC0}" srcOrd="0" destOrd="0" presId="urn:microsoft.com/office/officeart/2005/8/layout/radial4"/>
    <dgm:cxn modelId="{60D49987-59CE-4BFB-907A-19E59F00432E}" type="presParOf" srcId="{FD5DACA8-621D-496A-8528-9EE73441D095}" destId="{8A952651-1CC1-4659-88EA-22075D3F2BC0}" srcOrd="0" destOrd="0" presId="urn:microsoft.com/office/officeart/2005/8/layout/radial4"/>
    <dgm:cxn modelId="{6223FF27-5A0B-4240-BE84-73EFC5F37E8C}" type="presParOf" srcId="{FD5DACA8-621D-496A-8528-9EE73441D095}" destId="{F3F6FA02-A9CC-460D-A4CC-51964A512C71}" srcOrd="1" destOrd="0" presId="urn:microsoft.com/office/officeart/2005/8/layout/radial4"/>
    <dgm:cxn modelId="{56543245-5143-49B6-8FD1-B93A5AD8B234}" type="presParOf" srcId="{FD5DACA8-621D-496A-8528-9EE73441D095}" destId="{0312DF9D-F6E8-468C-81B0-1F4D7C4B53B5}" srcOrd="2" destOrd="0" presId="urn:microsoft.com/office/officeart/2005/8/layout/radial4"/>
    <dgm:cxn modelId="{6FB4FAE5-76B6-4547-B4AA-20229B101118}" type="presParOf" srcId="{FD5DACA8-621D-496A-8528-9EE73441D095}" destId="{807EF3C9-8EC0-41AD-A01D-35393BF6E553}" srcOrd="3" destOrd="0" presId="urn:microsoft.com/office/officeart/2005/8/layout/radial4"/>
    <dgm:cxn modelId="{94CBBDE1-E6A3-4F83-8067-B361C413F2F3}" type="presParOf" srcId="{FD5DACA8-621D-496A-8528-9EE73441D095}" destId="{0D9C3128-8D18-4BCD-9DCD-1B1BC2930C0C}" srcOrd="4" destOrd="0" presId="urn:microsoft.com/office/officeart/2005/8/layout/radial4"/>
    <dgm:cxn modelId="{AD4A3D99-3A1A-4DF2-9C87-C8C669CB81D2}" type="presParOf" srcId="{FD5DACA8-621D-496A-8528-9EE73441D095}" destId="{1AD82CD2-883E-4810-BE26-8CA486291B9E}" srcOrd="5" destOrd="0" presId="urn:microsoft.com/office/officeart/2005/8/layout/radial4"/>
    <dgm:cxn modelId="{42447FCD-B77E-41F9-BD22-FF753EEE134B}" type="presParOf" srcId="{FD5DACA8-621D-496A-8528-9EE73441D095}" destId="{D6BE55E8-B146-4C69-897B-2147251258BD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62607DAE-0BC8-4C04-BCE9-B6DB817992AC}" type="doc">
      <dgm:prSet loTypeId="urn:microsoft.com/office/officeart/2005/8/layout/vList5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zh-TW" altLang="en-US"/>
        </a:p>
      </dgm:t>
    </dgm:pt>
    <dgm:pt modelId="{993E9230-7D2B-4FC4-ABF7-BC8EF005F83C}">
      <dgm:prSet phldrT="[文字]" custT="1"/>
      <dgm:spPr/>
      <dgm:t>
        <a:bodyPr/>
        <a:lstStyle/>
        <a:p>
          <a:r>
            <a:rPr lang="zh-TW" altLang="en-US" sz="3600" dirty="0">
              <a:latin typeface="微軟正黑體" panose="020B0604030504040204" pitchFamily="34" charset="-120"/>
              <a:ea typeface="微軟正黑體" panose="020B0604030504040204" pitchFamily="34" charset="-120"/>
            </a:rPr>
            <a:t>評量依據</a:t>
          </a:r>
        </a:p>
      </dgm:t>
    </dgm:pt>
    <dgm:pt modelId="{E176D3EF-AE6A-4A02-B7D0-6183BF442118}" type="parTrans" cxnId="{AB9AC301-D0DC-4098-893F-36C269DC52EF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E908EB23-B7AE-484A-8145-A39703C327CC}" type="sibTrans" cxnId="{AB9AC301-D0DC-4098-893F-36C269DC52EF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6650092B-4C20-4433-9094-F6527B9D8D5B}">
      <dgm:prSet phldrT="[文字]" custT="1"/>
      <dgm:spPr/>
      <dgm:t>
        <a:bodyPr/>
        <a:lstStyle/>
        <a:p>
          <a:pPr>
            <a:lnSpc>
              <a:spcPct val="100000"/>
            </a:lnSpc>
            <a:spcBef>
              <a:spcPts val="1800"/>
            </a:spcBef>
            <a:spcAft>
              <a:spcPts val="0"/>
            </a:spcAft>
          </a:pPr>
          <a:r>
            <a:rPr lang="zh-TW" altLang="en-US" sz="1600" dirty="0">
              <a:latin typeface="微軟正黑體" panose="020B0604030504040204" pitchFamily="34" charset="-120"/>
              <a:ea typeface="微軟正黑體" panose="020B0604030504040204" pitchFamily="34" charset="-120"/>
            </a:rPr>
            <a:t>應依據社會領域之課程目標、核心素養、學習表現及學習內容。</a:t>
          </a:r>
        </a:p>
      </dgm:t>
    </dgm:pt>
    <dgm:pt modelId="{E7B8BE32-CF88-4795-94C9-AA9B809CFE5C}" type="parTrans" cxnId="{38D5A735-2F8C-4C30-9AD1-525811B851A0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B56F3595-4FEF-4787-97B8-6D1BE154FFA1}" type="sibTrans" cxnId="{38D5A735-2F8C-4C30-9AD1-525811B851A0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9BEB0E1E-F5DC-409D-9BBD-87C57CAB6D3E}">
      <dgm:prSet phldrT="[文字]" custT="1"/>
      <dgm:spPr/>
      <dgm:t>
        <a:bodyPr/>
        <a:lstStyle/>
        <a:p>
          <a:r>
            <a:rPr lang="zh-TW" altLang="en-US" sz="3600" dirty="0">
              <a:latin typeface="微軟正黑體" panose="020B0604030504040204" pitchFamily="34" charset="-120"/>
              <a:ea typeface="微軟正黑體" panose="020B0604030504040204" pitchFamily="34" charset="-120"/>
            </a:rPr>
            <a:t>評量方式</a:t>
          </a:r>
        </a:p>
      </dgm:t>
    </dgm:pt>
    <dgm:pt modelId="{78D7E491-191E-49FF-8687-3D06F40033B2}" type="parTrans" cxnId="{B350D5FB-7B3E-4566-95F0-F1E51809F73C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E6E32958-82BD-4777-A0A0-4446A882634E}" type="sibTrans" cxnId="{B350D5FB-7B3E-4566-95F0-F1E51809F73C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281FF0E4-4597-4372-ADF3-1FAF20E0CC88}">
      <dgm:prSet phldrT="[文字]" custT="1"/>
      <dgm:spPr/>
      <dgm:t>
        <a:bodyPr/>
        <a:lstStyle/>
        <a:p>
          <a:pPr>
            <a:spcAft>
              <a:spcPts val="0"/>
            </a:spcAft>
          </a:pPr>
          <a:r>
            <a:rPr lang="zh-TW" altLang="en-US" sz="1600" dirty="0">
              <a:latin typeface="微軟正黑體" panose="020B0604030504040204" pitchFamily="34" charset="-120"/>
              <a:ea typeface="微軟正黑體" panose="020B0604030504040204" pitchFamily="34" charset="-120"/>
            </a:rPr>
            <a:t>兼重學習歷程與結果。</a:t>
          </a:r>
        </a:p>
      </dgm:t>
    </dgm:pt>
    <dgm:pt modelId="{0493E849-3BB8-4C2A-853B-F49059F2E722}" type="parTrans" cxnId="{2DEF722C-B947-4A38-BE49-5030037A16F5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91EA7251-22A1-4F11-B100-DA30499F6930}" type="sibTrans" cxnId="{2DEF722C-B947-4A38-BE49-5030037A16F5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77379971-1DA9-4D0D-8C2B-43516D6EFFCD}">
      <dgm:prSet phldrT="[文字]" custT="1"/>
      <dgm:spPr/>
      <dgm:t>
        <a:bodyPr/>
        <a:lstStyle/>
        <a:p>
          <a:r>
            <a:rPr lang="zh-TW" altLang="en-US" sz="3600" dirty="0">
              <a:latin typeface="微軟正黑體" panose="020B0604030504040204" pitchFamily="34" charset="-120"/>
              <a:ea typeface="微軟正黑體" panose="020B0604030504040204" pitchFamily="34" charset="-120"/>
            </a:rPr>
            <a:t>評量內容</a:t>
          </a:r>
        </a:p>
      </dgm:t>
    </dgm:pt>
    <dgm:pt modelId="{CA5C2D3F-6C50-47C4-9C41-F46B7A9EC5EA}" type="parTrans" cxnId="{E8B3D128-75AF-44F6-BA3C-C359CCFDFE87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C2CE6A03-F51E-4F6C-B675-81F0C76B6ABF}" type="sibTrans" cxnId="{E8B3D128-75AF-44F6-BA3C-C359CCFDFE87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7E57F2B5-9551-419D-88AC-8C666AF46A28}">
      <dgm:prSet phldrT="[文字]" custT="1"/>
      <dgm:spPr/>
      <dgm:t>
        <a:bodyPr/>
        <a:lstStyle/>
        <a:p>
          <a:pPr>
            <a:spcAft>
              <a:spcPts val="0"/>
            </a:spcAft>
          </a:pPr>
          <a:r>
            <a:rPr lang="zh-TW" altLang="en-US" sz="1600" dirty="0">
              <a:latin typeface="微軟正黑體" panose="020B0604030504040204" pitchFamily="34" charset="-120"/>
              <a:ea typeface="微軟正黑體" panose="020B0604030504040204" pitchFamily="34" charset="-120"/>
            </a:rPr>
            <a:t>分析評量結果。</a:t>
          </a:r>
        </a:p>
      </dgm:t>
    </dgm:pt>
    <dgm:pt modelId="{0734B72B-AC71-44F4-A4BC-D225B1636985}" type="parTrans" cxnId="{60880DF6-41BB-4D44-B998-1F68E7471EBA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12595BC3-60E6-461A-A38A-974216008253}" type="sibTrans" cxnId="{60880DF6-41BB-4D44-B998-1F68E7471EBA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2DC4DBE9-B405-4D00-8DEB-80D4CA0AEDD3}">
      <dgm:prSet phldrT="[文字]" custT="1"/>
      <dgm:spPr/>
      <dgm:t>
        <a:bodyPr/>
        <a:lstStyle/>
        <a:p>
          <a:r>
            <a:rPr lang="zh-TW" altLang="en-US" sz="3600" dirty="0">
              <a:latin typeface="微軟正黑體" panose="020B0604030504040204" pitchFamily="34" charset="-120"/>
              <a:ea typeface="微軟正黑體" panose="020B0604030504040204" pitchFamily="34" charset="-120"/>
            </a:rPr>
            <a:t>評量運用</a:t>
          </a:r>
        </a:p>
      </dgm:t>
    </dgm:pt>
    <dgm:pt modelId="{8A95059C-D80A-4AEE-80ED-71917A8D33D2}" type="parTrans" cxnId="{47915905-235D-4D82-8238-4FA258E28480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2340923A-E0B7-4E8C-8AB4-AA0AD3797107}" type="sibTrans" cxnId="{47915905-235D-4D82-8238-4FA258E28480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A288948E-73B6-424B-9E65-C16DE76F9B40}">
      <dgm:prSet phldrT="[文字]" custT="1"/>
      <dgm:spPr/>
      <dgm:t>
        <a:bodyPr/>
        <a:lstStyle/>
        <a:p>
          <a:pPr>
            <a:spcAft>
              <a:spcPts val="0"/>
            </a:spcAft>
          </a:pPr>
          <a:r>
            <a:rPr lang="zh-TW" altLang="en-US" sz="1600" dirty="0">
              <a:latin typeface="微軟正黑體" panose="020B0604030504040204" pitchFamily="34" charset="-120"/>
              <a:ea typeface="微軟正黑體" panose="020B0604030504040204" pitchFamily="34" charset="-120"/>
            </a:rPr>
            <a:t>考量學生身心發展、個別差異與文化差異。</a:t>
          </a:r>
        </a:p>
      </dgm:t>
    </dgm:pt>
    <dgm:pt modelId="{4BDFA735-6F31-4F15-9EBF-B6B7F1C2E426}" type="parTrans" cxnId="{770EB132-6A3E-420C-A589-57970C36EC7D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37B096AA-C03F-4973-A22A-2D48FD584B6E}" type="sibTrans" cxnId="{770EB132-6A3E-420C-A589-57970C36EC7D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A3BFDF41-0C9A-4850-AA24-5C9BCB7960CB}">
      <dgm:prSet custT="1"/>
      <dgm:spPr/>
      <dgm:t>
        <a:bodyPr/>
        <a:lstStyle/>
        <a:p>
          <a:pPr>
            <a:lnSpc>
              <a:spcPct val="90000"/>
            </a:lnSpc>
            <a:spcBef>
              <a:spcPct val="0"/>
            </a:spcBef>
            <a:spcAft>
              <a:spcPts val="0"/>
            </a:spcAft>
          </a:pPr>
          <a:endParaRPr lang="zh-TW" altLang="en-US" sz="16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32F616CE-5E59-4D92-BD7E-3BCA73E5A3C2}" type="parTrans" cxnId="{FE36C1F5-225C-4236-B660-00806D8B9F88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D1023DB1-75D4-4222-8135-4B336E359723}" type="sibTrans" cxnId="{FE36C1F5-225C-4236-B660-00806D8B9F88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53F3E570-BAF1-4943-9971-40FD4380CD24}">
      <dgm:prSet custT="1"/>
      <dgm:spPr/>
      <dgm:t>
        <a:bodyPr/>
        <a:lstStyle/>
        <a:p>
          <a:pPr>
            <a:spcAft>
              <a:spcPts val="0"/>
            </a:spcAft>
          </a:pPr>
          <a:r>
            <a:rPr lang="zh-TW" altLang="en-US" sz="1600" dirty="0">
              <a:latin typeface="微軟正黑體" panose="020B0604030504040204" pitchFamily="34" charset="-120"/>
              <a:ea typeface="微軟正黑體" panose="020B0604030504040204" pitchFamily="34" charset="-120"/>
            </a:rPr>
            <a:t>採用紙筆測驗、作業練習、實作評量、田野實察、專題報告、檔案評量等多元形式。</a:t>
          </a:r>
        </a:p>
      </dgm:t>
    </dgm:pt>
    <dgm:pt modelId="{3C77D6CC-7AA6-442B-9CA3-841524A33F5D}" type="parTrans" cxnId="{1B2E3EB2-AF6A-47E9-823D-C7EF51EDC989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7F3E4E6C-5DBE-462F-BA0F-BBCE754A7863}" type="sibTrans" cxnId="{1B2E3EB2-AF6A-47E9-823D-C7EF51EDC989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3C88ED75-0BE8-4A1A-BA23-7428CBCD4FEC}">
      <dgm:prSet custT="1"/>
      <dgm:spPr/>
      <dgm:t>
        <a:bodyPr/>
        <a:lstStyle/>
        <a:p>
          <a:pPr>
            <a:spcAft>
              <a:spcPts val="0"/>
            </a:spcAft>
          </a:pPr>
          <a:r>
            <a:rPr lang="zh-TW" altLang="en-US" sz="1600" dirty="0">
              <a:latin typeface="微軟正黑體" panose="020B0604030504040204" pitchFamily="34" charset="-120"/>
              <a:ea typeface="微軟正黑體" panose="020B0604030504040204" pitchFamily="34" charset="-120"/>
            </a:rPr>
            <a:t>作為教學反思、調整及補救教學的參考。</a:t>
          </a:r>
        </a:p>
      </dgm:t>
    </dgm:pt>
    <dgm:pt modelId="{68B64E0B-8818-4214-9728-0B28D1A74302}" type="parTrans" cxnId="{ED39A479-A47D-4253-849C-6B209A863472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C8C0BED5-2DD1-41B9-A909-C94AECE19A01}" type="sibTrans" cxnId="{ED39A479-A47D-4253-849C-6B209A863472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F86DA7AB-CDF6-424B-B7D5-A4924212ABAA}">
      <dgm:prSet custT="1"/>
      <dgm:spPr/>
      <dgm:t>
        <a:bodyPr/>
        <a:lstStyle/>
        <a:p>
          <a:pPr>
            <a:spcAft>
              <a:spcPts val="0"/>
            </a:spcAft>
          </a:pPr>
          <a:r>
            <a:rPr lang="zh-TW" altLang="en-US" sz="1600" dirty="0">
              <a:latin typeface="微軟正黑體" panose="020B0604030504040204" pitchFamily="34" charset="-120"/>
              <a:ea typeface="微軟正黑體" panose="020B0604030504040204" pitchFamily="34" charset="-120"/>
            </a:rPr>
            <a:t>勿淪於零碎的知識記憶，應兼重高層次的認知、情意、技能表現及其在實際生活中的運用。</a:t>
          </a:r>
          <a:endParaRPr lang="zh-TW" sz="16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7F63B9D1-76DF-4002-97D4-30564FA33591}" type="parTrans" cxnId="{A9787BEF-6192-4ABC-B314-6714BD08303A}">
      <dgm:prSet/>
      <dgm:spPr/>
      <dgm:t>
        <a:bodyPr/>
        <a:lstStyle/>
        <a:p>
          <a:endParaRPr lang="zh-TW" altLang="en-US"/>
        </a:p>
      </dgm:t>
    </dgm:pt>
    <dgm:pt modelId="{7A094E3C-BE23-428F-A003-39234CB8A91E}" type="sibTrans" cxnId="{A9787BEF-6192-4ABC-B314-6714BD08303A}">
      <dgm:prSet/>
      <dgm:spPr/>
      <dgm:t>
        <a:bodyPr/>
        <a:lstStyle/>
        <a:p>
          <a:endParaRPr lang="zh-TW" altLang="en-US"/>
        </a:p>
      </dgm:t>
    </dgm:pt>
    <dgm:pt modelId="{9A54B91F-C5AB-4C8C-AA16-FE75F552AC8A}">
      <dgm:prSet phldrT="[文字]" custT="1"/>
      <dgm:spPr/>
      <dgm:t>
        <a:bodyPr/>
        <a:lstStyle/>
        <a:p>
          <a:pPr>
            <a:lnSpc>
              <a:spcPct val="100000"/>
            </a:lnSpc>
            <a:spcBef>
              <a:spcPts val="1800"/>
            </a:spcBef>
            <a:spcAft>
              <a:spcPts val="0"/>
            </a:spcAft>
          </a:pPr>
          <a:endParaRPr lang="zh-TW" altLang="en-US" sz="16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06619AB8-7D04-44BF-B27B-C3244C91BE7E}" type="parTrans" cxnId="{9CE6FC25-A421-4F35-AF6B-3FCE3B7F1EC5}">
      <dgm:prSet/>
      <dgm:spPr/>
      <dgm:t>
        <a:bodyPr/>
        <a:lstStyle/>
        <a:p>
          <a:endParaRPr lang="zh-TW" altLang="en-US"/>
        </a:p>
      </dgm:t>
    </dgm:pt>
    <dgm:pt modelId="{F5D06BBE-29E7-4CE2-95C6-FCA069D8B23F}" type="sibTrans" cxnId="{9CE6FC25-A421-4F35-AF6B-3FCE3B7F1EC5}">
      <dgm:prSet/>
      <dgm:spPr/>
      <dgm:t>
        <a:bodyPr/>
        <a:lstStyle/>
        <a:p>
          <a:endParaRPr lang="zh-TW" altLang="en-US"/>
        </a:p>
      </dgm:t>
    </dgm:pt>
    <dgm:pt modelId="{FB52AEE5-AE65-4386-902D-8A76224D6838}" type="pres">
      <dgm:prSet presAssocID="{62607DAE-0BC8-4C04-BCE9-B6DB817992AC}" presName="Name0" presStyleCnt="0">
        <dgm:presLayoutVars>
          <dgm:dir/>
          <dgm:animLvl val="lvl"/>
          <dgm:resizeHandles val="exact"/>
        </dgm:presLayoutVars>
      </dgm:prSet>
      <dgm:spPr/>
    </dgm:pt>
    <dgm:pt modelId="{D4E3D6A4-0425-4AE3-8303-2378A9382C5C}" type="pres">
      <dgm:prSet presAssocID="{993E9230-7D2B-4FC4-ABF7-BC8EF005F83C}" presName="linNode" presStyleCnt="0"/>
      <dgm:spPr/>
    </dgm:pt>
    <dgm:pt modelId="{180BA1B6-5C19-4692-B08E-1D022D2CDFBB}" type="pres">
      <dgm:prSet presAssocID="{993E9230-7D2B-4FC4-ABF7-BC8EF005F83C}" presName="parentText" presStyleLbl="node1" presStyleIdx="0" presStyleCnt="4" custScaleX="83967">
        <dgm:presLayoutVars>
          <dgm:chMax val="1"/>
          <dgm:bulletEnabled val="1"/>
        </dgm:presLayoutVars>
      </dgm:prSet>
      <dgm:spPr/>
    </dgm:pt>
    <dgm:pt modelId="{228E88C3-791B-4373-AD68-2A7364C977E4}" type="pres">
      <dgm:prSet presAssocID="{993E9230-7D2B-4FC4-ABF7-BC8EF005F83C}" presName="descendantText" presStyleLbl="alignAccFollowNode1" presStyleIdx="0" presStyleCnt="4">
        <dgm:presLayoutVars>
          <dgm:bulletEnabled val="1"/>
        </dgm:presLayoutVars>
      </dgm:prSet>
      <dgm:spPr/>
    </dgm:pt>
    <dgm:pt modelId="{E55FE16A-BE06-400F-AFA2-90A4B8465EA3}" type="pres">
      <dgm:prSet presAssocID="{E908EB23-B7AE-484A-8145-A39703C327CC}" presName="sp" presStyleCnt="0"/>
      <dgm:spPr/>
    </dgm:pt>
    <dgm:pt modelId="{89A9EACC-C88D-432A-BB44-8E6E8BF2A6F8}" type="pres">
      <dgm:prSet presAssocID="{9BEB0E1E-F5DC-409D-9BBD-87C57CAB6D3E}" presName="linNode" presStyleCnt="0"/>
      <dgm:spPr/>
    </dgm:pt>
    <dgm:pt modelId="{0557FA2C-F3CD-4AAF-B6BE-E02AB15DB32A}" type="pres">
      <dgm:prSet presAssocID="{9BEB0E1E-F5DC-409D-9BBD-87C57CAB6D3E}" presName="parentText" presStyleLbl="node1" presStyleIdx="1" presStyleCnt="4" custScaleX="84581">
        <dgm:presLayoutVars>
          <dgm:chMax val="1"/>
          <dgm:bulletEnabled val="1"/>
        </dgm:presLayoutVars>
      </dgm:prSet>
      <dgm:spPr/>
    </dgm:pt>
    <dgm:pt modelId="{DB822C2C-21EA-4A8B-A2AA-966DA693987E}" type="pres">
      <dgm:prSet presAssocID="{9BEB0E1E-F5DC-409D-9BBD-87C57CAB6D3E}" presName="descendantText" presStyleLbl="alignAccFollowNode1" presStyleIdx="1" presStyleCnt="4">
        <dgm:presLayoutVars>
          <dgm:bulletEnabled val="1"/>
        </dgm:presLayoutVars>
      </dgm:prSet>
      <dgm:spPr/>
    </dgm:pt>
    <dgm:pt modelId="{D4C7000E-9FC5-406A-9D17-1C09CA91361D}" type="pres">
      <dgm:prSet presAssocID="{E6E32958-82BD-4777-A0A0-4446A882634E}" presName="sp" presStyleCnt="0"/>
      <dgm:spPr/>
    </dgm:pt>
    <dgm:pt modelId="{58FE6BA0-F56A-4D1B-94C8-5E1621D709AE}" type="pres">
      <dgm:prSet presAssocID="{77379971-1DA9-4D0D-8C2B-43516D6EFFCD}" presName="linNode" presStyleCnt="0"/>
      <dgm:spPr/>
    </dgm:pt>
    <dgm:pt modelId="{F9432957-76E8-46EF-A979-1BF4999E4924}" type="pres">
      <dgm:prSet presAssocID="{77379971-1DA9-4D0D-8C2B-43516D6EFFCD}" presName="parentText" presStyleLbl="node1" presStyleIdx="2" presStyleCnt="4" custScaleX="83967">
        <dgm:presLayoutVars>
          <dgm:chMax val="1"/>
          <dgm:bulletEnabled val="1"/>
        </dgm:presLayoutVars>
      </dgm:prSet>
      <dgm:spPr/>
    </dgm:pt>
    <dgm:pt modelId="{A58BE33C-4163-435D-AC16-4BD491973087}" type="pres">
      <dgm:prSet presAssocID="{77379971-1DA9-4D0D-8C2B-43516D6EFFCD}" presName="descendantText" presStyleLbl="alignAccFollowNode1" presStyleIdx="2" presStyleCnt="4" custScaleY="112206">
        <dgm:presLayoutVars>
          <dgm:bulletEnabled val="1"/>
        </dgm:presLayoutVars>
      </dgm:prSet>
      <dgm:spPr/>
    </dgm:pt>
    <dgm:pt modelId="{D9141907-6A35-4E78-8E9E-ACF9DB624191}" type="pres">
      <dgm:prSet presAssocID="{C2CE6A03-F51E-4F6C-B675-81F0C76B6ABF}" presName="sp" presStyleCnt="0"/>
      <dgm:spPr/>
    </dgm:pt>
    <dgm:pt modelId="{78D76FA5-32E3-4665-973C-949F03DCCD61}" type="pres">
      <dgm:prSet presAssocID="{2DC4DBE9-B405-4D00-8DEB-80D4CA0AEDD3}" presName="linNode" presStyleCnt="0"/>
      <dgm:spPr/>
    </dgm:pt>
    <dgm:pt modelId="{45AB083B-87C6-484E-8672-C07F90864E79}" type="pres">
      <dgm:prSet presAssocID="{2DC4DBE9-B405-4D00-8DEB-80D4CA0AEDD3}" presName="parentText" presStyleLbl="node1" presStyleIdx="3" presStyleCnt="4" custScaleX="85195">
        <dgm:presLayoutVars>
          <dgm:chMax val="1"/>
          <dgm:bulletEnabled val="1"/>
        </dgm:presLayoutVars>
      </dgm:prSet>
      <dgm:spPr/>
    </dgm:pt>
    <dgm:pt modelId="{9C54C7E6-F374-4393-90F3-BD089DCB4A95}" type="pres">
      <dgm:prSet presAssocID="{2DC4DBE9-B405-4D00-8DEB-80D4CA0AEDD3}" presName="descendantText" presStyleLbl="alignAccFollowNode1" presStyleIdx="3" presStyleCnt="4">
        <dgm:presLayoutVars>
          <dgm:bulletEnabled val="1"/>
        </dgm:presLayoutVars>
      </dgm:prSet>
      <dgm:spPr/>
    </dgm:pt>
  </dgm:ptLst>
  <dgm:cxnLst>
    <dgm:cxn modelId="{AB9AC301-D0DC-4098-893F-36C269DC52EF}" srcId="{62607DAE-0BC8-4C04-BCE9-B6DB817992AC}" destId="{993E9230-7D2B-4FC4-ABF7-BC8EF005F83C}" srcOrd="0" destOrd="0" parTransId="{E176D3EF-AE6A-4A02-B7D0-6183BF442118}" sibTransId="{E908EB23-B7AE-484A-8145-A39703C327CC}"/>
    <dgm:cxn modelId="{47915905-235D-4D82-8238-4FA258E28480}" srcId="{62607DAE-0BC8-4C04-BCE9-B6DB817992AC}" destId="{2DC4DBE9-B405-4D00-8DEB-80D4CA0AEDD3}" srcOrd="3" destOrd="0" parTransId="{8A95059C-D80A-4AEE-80ED-71917A8D33D2}" sibTransId="{2340923A-E0B7-4E8C-8AB4-AA0AD3797107}"/>
    <dgm:cxn modelId="{3156C205-2564-4872-BAEB-E4788018CC1C}" type="presOf" srcId="{7E57F2B5-9551-419D-88AC-8C666AF46A28}" destId="{9C54C7E6-F374-4393-90F3-BD089DCB4A95}" srcOrd="0" destOrd="0" presId="urn:microsoft.com/office/officeart/2005/8/layout/vList5"/>
    <dgm:cxn modelId="{B6022F0D-FDFD-4A79-964C-62BD1BC733C5}" type="presOf" srcId="{A3BFDF41-0C9A-4850-AA24-5C9BCB7960CB}" destId="{228E88C3-791B-4373-AD68-2A7364C977E4}" srcOrd="0" destOrd="2" presId="urn:microsoft.com/office/officeart/2005/8/layout/vList5"/>
    <dgm:cxn modelId="{9CE6FC25-A421-4F35-AF6B-3FCE3B7F1EC5}" srcId="{993E9230-7D2B-4FC4-ABF7-BC8EF005F83C}" destId="{9A54B91F-C5AB-4C8C-AA16-FE75F552AC8A}" srcOrd="0" destOrd="0" parTransId="{06619AB8-7D04-44BF-B27B-C3244C91BE7E}" sibTransId="{F5D06BBE-29E7-4CE2-95C6-FCA069D8B23F}"/>
    <dgm:cxn modelId="{D4622628-E3D9-4392-B64D-6F1C0FFCB4AB}" type="presOf" srcId="{6650092B-4C20-4433-9094-F6527B9D8D5B}" destId="{228E88C3-791B-4373-AD68-2A7364C977E4}" srcOrd="0" destOrd="1" presId="urn:microsoft.com/office/officeart/2005/8/layout/vList5"/>
    <dgm:cxn modelId="{E8B3D128-75AF-44F6-BA3C-C359CCFDFE87}" srcId="{62607DAE-0BC8-4C04-BCE9-B6DB817992AC}" destId="{77379971-1DA9-4D0D-8C2B-43516D6EFFCD}" srcOrd="2" destOrd="0" parTransId="{CA5C2D3F-6C50-47C4-9C41-F46B7A9EC5EA}" sibTransId="{C2CE6A03-F51E-4F6C-B675-81F0C76B6ABF}"/>
    <dgm:cxn modelId="{2DEF722C-B947-4A38-BE49-5030037A16F5}" srcId="{9BEB0E1E-F5DC-409D-9BBD-87C57CAB6D3E}" destId="{281FF0E4-4597-4372-ADF3-1FAF20E0CC88}" srcOrd="0" destOrd="0" parTransId="{0493E849-3BB8-4C2A-853B-F49059F2E722}" sibTransId="{91EA7251-22A1-4F11-B100-DA30499F6930}"/>
    <dgm:cxn modelId="{B722352F-B4CF-4B86-A0CF-8902F7D7A803}" type="presOf" srcId="{53F3E570-BAF1-4943-9971-40FD4380CD24}" destId="{DB822C2C-21EA-4A8B-A2AA-966DA693987E}" srcOrd="0" destOrd="1" presId="urn:microsoft.com/office/officeart/2005/8/layout/vList5"/>
    <dgm:cxn modelId="{770EB132-6A3E-420C-A589-57970C36EC7D}" srcId="{77379971-1DA9-4D0D-8C2B-43516D6EFFCD}" destId="{A288948E-73B6-424B-9E65-C16DE76F9B40}" srcOrd="0" destOrd="0" parTransId="{4BDFA735-6F31-4F15-9EBF-B6B7F1C2E426}" sibTransId="{37B096AA-C03F-4973-A22A-2D48FD584B6E}"/>
    <dgm:cxn modelId="{6BF67A33-F3BD-499A-9751-A369C4D541B2}" type="presOf" srcId="{77379971-1DA9-4D0D-8C2B-43516D6EFFCD}" destId="{F9432957-76E8-46EF-A979-1BF4999E4924}" srcOrd="0" destOrd="0" presId="urn:microsoft.com/office/officeart/2005/8/layout/vList5"/>
    <dgm:cxn modelId="{38D5A735-2F8C-4C30-9AD1-525811B851A0}" srcId="{993E9230-7D2B-4FC4-ABF7-BC8EF005F83C}" destId="{6650092B-4C20-4433-9094-F6527B9D8D5B}" srcOrd="1" destOrd="0" parTransId="{E7B8BE32-CF88-4795-94C9-AA9B809CFE5C}" sibTransId="{B56F3595-4FEF-4787-97B8-6D1BE154FFA1}"/>
    <dgm:cxn modelId="{81065C5C-CA0D-4090-BE2F-304DD4F9914A}" type="presOf" srcId="{2DC4DBE9-B405-4D00-8DEB-80D4CA0AEDD3}" destId="{45AB083B-87C6-484E-8672-C07F90864E79}" srcOrd="0" destOrd="0" presId="urn:microsoft.com/office/officeart/2005/8/layout/vList5"/>
    <dgm:cxn modelId="{982CB153-3C7A-4F3C-9488-E10B901E0B09}" type="presOf" srcId="{62607DAE-0BC8-4C04-BCE9-B6DB817992AC}" destId="{FB52AEE5-AE65-4386-902D-8A76224D6838}" srcOrd="0" destOrd="0" presId="urn:microsoft.com/office/officeart/2005/8/layout/vList5"/>
    <dgm:cxn modelId="{ED39A479-A47D-4253-849C-6B209A863472}" srcId="{2DC4DBE9-B405-4D00-8DEB-80D4CA0AEDD3}" destId="{3C88ED75-0BE8-4A1A-BA23-7428CBCD4FEC}" srcOrd="1" destOrd="0" parTransId="{68B64E0B-8818-4214-9728-0B28D1A74302}" sibTransId="{C8C0BED5-2DD1-41B9-A909-C94AECE19A01}"/>
    <dgm:cxn modelId="{8E6B5F91-EEFB-4113-871F-CA6F159F471C}" type="presOf" srcId="{A288948E-73B6-424B-9E65-C16DE76F9B40}" destId="{A58BE33C-4163-435D-AC16-4BD491973087}" srcOrd="0" destOrd="0" presId="urn:microsoft.com/office/officeart/2005/8/layout/vList5"/>
    <dgm:cxn modelId="{1B2E3EB2-AF6A-47E9-823D-C7EF51EDC989}" srcId="{9BEB0E1E-F5DC-409D-9BBD-87C57CAB6D3E}" destId="{53F3E570-BAF1-4943-9971-40FD4380CD24}" srcOrd="1" destOrd="0" parTransId="{3C77D6CC-7AA6-442B-9CA3-841524A33F5D}" sibTransId="{7F3E4E6C-5DBE-462F-BA0F-BBCE754A7863}"/>
    <dgm:cxn modelId="{9CB2C6B3-AB30-4711-B8D7-20EA32F8357B}" type="presOf" srcId="{9A54B91F-C5AB-4C8C-AA16-FE75F552AC8A}" destId="{228E88C3-791B-4373-AD68-2A7364C977E4}" srcOrd="0" destOrd="0" presId="urn:microsoft.com/office/officeart/2005/8/layout/vList5"/>
    <dgm:cxn modelId="{C36D63C5-0B72-40F8-B2F6-1C1588464CF4}" type="presOf" srcId="{9BEB0E1E-F5DC-409D-9BBD-87C57CAB6D3E}" destId="{0557FA2C-F3CD-4AAF-B6BE-E02AB15DB32A}" srcOrd="0" destOrd="0" presId="urn:microsoft.com/office/officeart/2005/8/layout/vList5"/>
    <dgm:cxn modelId="{C43317C8-5898-4603-925A-934F315AF5E9}" type="presOf" srcId="{3C88ED75-0BE8-4A1A-BA23-7428CBCD4FEC}" destId="{9C54C7E6-F374-4393-90F3-BD089DCB4A95}" srcOrd="0" destOrd="1" presId="urn:microsoft.com/office/officeart/2005/8/layout/vList5"/>
    <dgm:cxn modelId="{5819DFCF-CD9C-4154-A789-B20D85CC361D}" type="presOf" srcId="{F86DA7AB-CDF6-424B-B7D5-A4924212ABAA}" destId="{A58BE33C-4163-435D-AC16-4BD491973087}" srcOrd="0" destOrd="1" presId="urn:microsoft.com/office/officeart/2005/8/layout/vList5"/>
    <dgm:cxn modelId="{005402D3-EA8C-490C-8676-301813F31CDB}" type="presOf" srcId="{281FF0E4-4597-4372-ADF3-1FAF20E0CC88}" destId="{DB822C2C-21EA-4A8B-A2AA-966DA693987E}" srcOrd="0" destOrd="0" presId="urn:microsoft.com/office/officeart/2005/8/layout/vList5"/>
    <dgm:cxn modelId="{A9787BEF-6192-4ABC-B314-6714BD08303A}" srcId="{77379971-1DA9-4D0D-8C2B-43516D6EFFCD}" destId="{F86DA7AB-CDF6-424B-B7D5-A4924212ABAA}" srcOrd="1" destOrd="0" parTransId="{7F63B9D1-76DF-4002-97D4-30564FA33591}" sibTransId="{7A094E3C-BE23-428F-A003-39234CB8A91E}"/>
    <dgm:cxn modelId="{4B6656F1-B919-4C35-8C48-2E357048A26D}" type="presOf" srcId="{993E9230-7D2B-4FC4-ABF7-BC8EF005F83C}" destId="{180BA1B6-5C19-4692-B08E-1D022D2CDFBB}" srcOrd="0" destOrd="0" presId="urn:microsoft.com/office/officeart/2005/8/layout/vList5"/>
    <dgm:cxn modelId="{FE36C1F5-225C-4236-B660-00806D8B9F88}" srcId="{993E9230-7D2B-4FC4-ABF7-BC8EF005F83C}" destId="{A3BFDF41-0C9A-4850-AA24-5C9BCB7960CB}" srcOrd="2" destOrd="0" parTransId="{32F616CE-5E59-4D92-BD7E-3BCA73E5A3C2}" sibTransId="{D1023DB1-75D4-4222-8135-4B336E359723}"/>
    <dgm:cxn modelId="{60880DF6-41BB-4D44-B998-1F68E7471EBA}" srcId="{2DC4DBE9-B405-4D00-8DEB-80D4CA0AEDD3}" destId="{7E57F2B5-9551-419D-88AC-8C666AF46A28}" srcOrd="0" destOrd="0" parTransId="{0734B72B-AC71-44F4-A4BC-D225B1636985}" sibTransId="{12595BC3-60E6-461A-A38A-974216008253}"/>
    <dgm:cxn modelId="{B350D5FB-7B3E-4566-95F0-F1E51809F73C}" srcId="{62607DAE-0BC8-4C04-BCE9-B6DB817992AC}" destId="{9BEB0E1E-F5DC-409D-9BBD-87C57CAB6D3E}" srcOrd="1" destOrd="0" parTransId="{78D7E491-191E-49FF-8687-3D06F40033B2}" sibTransId="{E6E32958-82BD-4777-A0A0-4446A882634E}"/>
    <dgm:cxn modelId="{448BA80C-363A-428B-A94D-9BD20AF13B1B}" type="presParOf" srcId="{FB52AEE5-AE65-4386-902D-8A76224D6838}" destId="{D4E3D6A4-0425-4AE3-8303-2378A9382C5C}" srcOrd="0" destOrd="0" presId="urn:microsoft.com/office/officeart/2005/8/layout/vList5"/>
    <dgm:cxn modelId="{6D262916-1611-4F16-8DF1-CC328BB94B54}" type="presParOf" srcId="{D4E3D6A4-0425-4AE3-8303-2378A9382C5C}" destId="{180BA1B6-5C19-4692-B08E-1D022D2CDFBB}" srcOrd="0" destOrd="0" presId="urn:microsoft.com/office/officeart/2005/8/layout/vList5"/>
    <dgm:cxn modelId="{4BDB97D6-D390-4F4E-BDF7-32CB14DCFFFD}" type="presParOf" srcId="{D4E3D6A4-0425-4AE3-8303-2378A9382C5C}" destId="{228E88C3-791B-4373-AD68-2A7364C977E4}" srcOrd="1" destOrd="0" presId="urn:microsoft.com/office/officeart/2005/8/layout/vList5"/>
    <dgm:cxn modelId="{8E5D3EB8-5C61-4E7F-8AA2-4CBBC88633EC}" type="presParOf" srcId="{FB52AEE5-AE65-4386-902D-8A76224D6838}" destId="{E55FE16A-BE06-400F-AFA2-90A4B8465EA3}" srcOrd="1" destOrd="0" presId="urn:microsoft.com/office/officeart/2005/8/layout/vList5"/>
    <dgm:cxn modelId="{32C1301B-B519-4245-8F9B-5D8C6A25B5FA}" type="presParOf" srcId="{FB52AEE5-AE65-4386-902D-8A76224D6838}" destId="{89A9EACC-C88D-432A-BB44-8E6E8BF2A6F8}" srcOrd="2" destOrd="0" presId="urn:microsoft.com/office/officeart/2005/8/layout/vList5"/>
    <dgm:cxn modelId="{08F77517-BF82-4263-97D6-161A5A83F99B}" type="presParOf" srcId="{89A9EACC-C88D-432A-BB44-8E6E8BF2A6F8}" destId="{0557FA2C-F3CD-4AAF-B6BE-E02AB15DB32A}" srcOrd="0" destOrd="0" presId="urn:microsoft.com/office/officeart/2005/8/layout/vList5"/>
    <dgm:cxn modelId="{99048CFF-57B8-49EA-A74E-EA6A6496705A}" type="presParOf" srcId="{89A9EACC-C88D-432A-BB44-8E6E8BF2A6F8}" destId="{DB822C2C-21EA-4A8B-A2AA-966DA693987E}" srcOrd="1" destOrd="0" presId="urn:microsoft.com/office/officeart/2005/8/layout/vList5"/>
    <dgm:cxn modelId="{8948910C-CE6C-486D-B55B-664E5F7E7069}" type="presParOf" srcId="{FB52AEE5-AE65-4386-902D-8A76224D6838}" destId="{D4C7000E-9FC5-406A-9D17-1C09CA91361D}" srcOrd="3" destOrd="0" presId="urn:microsoft.com/office/officeart/2005/8/layout/vList5"/>
    <dgm:cxn modelId="{275AD49D-DAA2-4767-91F0-C84073832FF7}" type="presParOf" srcId="{FB52AEE5-AE65-4386-902D-8A76224D6838}" destId="{58FE6BA0-F56A-4D1B-94C8-5E1621D709AE}" srcOrd="4" destOrd="0" presId="urn:microsoft.com/office/officeart/2005/8/layout/vList5"/>
    <dgm:cxn modelId="{FF93FF0F-46C3-4DBF-8251-A6AE3200E6DB}" type="presParOf" srcId="{58FE6BA0-F56A-4D1B-94C8-5E1621D709AE}" destId="{F9432957-76E8-46EF-A979-1BF4999E4924}" srcOrd="0" destOrd="0" presId="urn:microsoft.com/office/officeart/2005/8/layout/vList5"/>
    <dgm:cxn modelId="{7DFD6B08-4A49-4641-968B-A50ACCD3A364}" type="presParOf" srcId="{58FE6BA0-F56A-4D1B-94C8-5E1621D709AE}" destId="{A58BE33C-4163-435D-AC16-4BD491973087}" srcOrd="1" destOrd="0" presId="urn:microsoft.com/office/officeart/2005/8/layout/vList5"/>
    <dgm:cxn modelId="{829CA94C-0202-4D7F-82FA-80C8CFF12C84}" type="presParOf" srcId="{FB52AEE5-AE65-4386-902D-8A76224D6838}" destId="{D9141907-6A35-4E78-8E9E-ACF9DB624191}" srcOrd="5" destOrd="0" presId="urn:microsoft.com/office/officeart/2005/8/layout/vList5"/>
    <dgm:cxn modelId="{7A6B1A56-8192-4C1F-97D2-CA25143B3DC6}" type="presParOf" srcId="{FB52AEE5-AE65-4386-902D-8A76224D6838}" destId="{78D76FA5-32E3-4665-973C-949F03DCCD61}" srcOrd="6" destOrd="0" presId="urn:microsoft.com/office/officeart/2005/8/layout/vList5"/>
    <dgm:cxn modelId="{94F6DB24-B521-4D94-8AA6-8CF373BE4216}" type="presParOf" srcId="{78D76FA5-32E3-4665-973C-949F03DCCD61}" destId="{45AB083B-87C6-484E-8672-C07F90864E79}" srcOrd="0" destOrd="0" presId="urn:microsoft.com/office/officeart/2005/8/layout/vList5"/>
    <dgm:cxn modelId="{C7D02969-18F0-4338-99C5-CCBA50760D60}" type="presParOf" srcId="{78D76FA5-32E3-4665-973C-949F03DCCD61}" destId="{9C54C7E6-F374-4393-90F3-BD089DCB4A95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2.xml><?xml version="1.0" encoding="utf-8"?>
<dgm:dataModel xmlns:dgm="http://schemas.openxmlformats.org/drawingml/2006/diagram" xmlns:a="http://schemas.openxmlformats.org/drawingml/2006/main">
  <dgm:ptLst>
    <dgm:pt modelId="{8E85B550-3702-40D9-A427-07AF6FCFAC24}" type="doc">
      <dgm:prSet loTypeId="urn:microsoft.com/office/officeart/2005/8/layout/bList2#1" loCatId="list" qsTypeId="urn:microsoft.com/office/officeart/2005/8/quickstyle/simple1" qsCatId="simple" csTypeId="urn:microsoft.com/office/officeart/2005/8/colors/accent1_2" csCatId="accent1" phldr="1"/>
      <dgm:spPr/>
    </dgm:pt>
    <dgm:pt modelId="{3CF7EB20-C397-4A88-880D-3F215D7F9EEF}">
      <dgm:prSet phldrT="[文字]" custT="1"/>
      <dgm:spPr/>
      <dgm:t>
        <a:bodyPr/>
        <a:lstStyle/>
        <a:p>
          <a:pPr>
            <a:spcAft>
              <a:spcPts val="0"/>
            </a:spcAft>
          </a:pPr>
          <a:r>
            <a:rPr lang="zh-TW" altLang="en-US" sz="1800" dirty="0">
              <a:latin typeface="微軟正黑體" panose="020B0604030504040204" pitchFamily="34" charset="-120"/>
              <a:ea typeface="微軟正黑體" panose="020B0604030504040204" pitchFamily="34" charset="-120"/>
            </a:rPr>
            <a:t>．</a:t>
          </a:r>
          <a:r>
            <a:rPr lang="zh-TW" altLang="en-US" sz="1800" b="1" u="sng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  <a:hlinkClick xmlns:r="http://schemas.openxmlformats.org/officeDocument/2006/relationships" r:id="rId1"/>
            </a:rPr>
            <a:t>課程綱要</a:t>
          </a:r>
          <a:endParaRPr lang="zh-TW" altLang="en-US" sz="1800" b="1" u="sng" dirty="0">
            <a:solidFill>
              <a:schemeClr val="bg1"/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CADC29C4-BF0A-4296-90DB-0D034898095D}" type="parTrans" cxnId="{444B5B6C-CA21-4355-93C9-C2FC617A39E1}">
      <dgm:prSet/>
      <dgm:spPr/>
      <dgm:t>
        <a:bodyPr/>
        <a:lstStyle/>
        <a:p>
          <a:endParaRPr lang="zh-TW" altLang="en-US"/>
        </a:p>
      </dgm:t>
    </dgm:pt>
    <dgm:pt modelId="{3D746652-0E0E-4525-B0FD-7820FB83578D}" type="sibTrans" cxnId="{444B5B6C-CA21-4355-93C9-C2FC617A39E1}">
      <dgm:prSet/>
      <dgm:spPr/>
      <dgm:t>
        <a:bodyPr/>
        <a:lstStyle/>
        <a:p>
          <a:endParaRPr lang="zh-TW" altLang="en-US"/>
        </a:p>
      </dgm:t>
    </dgm:pt>
    <dgm:pt modelId="{A35310C1-D341-4080-BAC2-F1991AC5AD34}" type="pres">
      <dgm:prSet presAssocID="{8E85B550-3702-40D9-A427-07AF6FCFAC24}" presName="diagram" presStyleCnt="0">
        <dgm:presLayoutVars>
          <dgm:dir/>
          <dgm:animLvl val="lvl"/>
          <dgm:resizeHandles val="exact"/>
        </dgm:presLayoutVars>
      </dgm:prSet>
      <dgm:spPr/>
    </dgm:pt>
    <dgm:pt modelId="{91B1B8B2-4071-4BB8-B7DA-3D6A1216383E}" type="pres">
      <dgm:prSet presAssocID="{3CF7EB20-C397-4A88-880D-3F215D7F9EEF}" presName="compNode" presStyleCnt="0"/>
      <dgm:spPr/>
    </dgm:pt>
    <dgm:pt modelId="{B848A202-CF9D-4C10-8601-0750009DA951}" type="pres">
      <dgm:prSet presAssocID="{3CF7EB20-C397-4A88-880D-3F215D7F9EEF}" presName="childRect" presStyleLbl="bgAcc1" presStyleIdx="0" presStyleCnt="1">
        <dgm:presLayoutVars>
          <dgm:bulletEnabled val="1"/>
        </dgm:presLayoutVars>
      </dgm:prSet>
      <dgm:spPr/>
    </dgm:pt>
    <dgm:pt modelId="{1B837A30-6E8B-43DE-867C-3442812939C1}" type="pres">
      <dgm:prSet presAssocID="{3CF7EB20-C397-4A88-880D-3F215D7F9EEF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E9A83FCE-84E4-48F4-9525-F9B997E206DE}" type="pres">
      <dgm:prSet presAssocID="{3CF7EB20-C397-4A88-880D-3F215D7F9EEF}" presName="parentRect" presStyleLbl="alignNode1" presStyleIdx="0" presStyleCnt="1" custScaleY="112306" custLinFactNeighborX="156" custLinFactNeighborY="35089"/>
      <dgm:spPr/>
    </dgm:pt>
    <dgm:pt modelId="{5346BA52-849F-4A7D-8B52-170149EAECD6}" type="pres">
      <dgm:prSet presAssocID="{3CF7EB20-C397-4A88-880D-3F215D7F9EEF}" presName="adorn" presStyleLbl="fgAccFollowNode1" presStyleIdx="0" presStyleCnt="1" custFlipVert="1" custFlipHor="1" custScaleX="3992" custScaleY="3992" custLinFactX="100000" custLinFactY="-100000" custLinFactNeighborX="191203" custLinFactNeighborY="-167775"/>
      <dgm:spPr/>
    </dgm:pt>
  </dgm:ptLst>
  <dgm:cxnLst>
    <dgm:cxn modelId="{444B5B6C-CA21-4355-93C9-C2FC617A39E1}" srcId="{8E85B550-3702-40D9-A427-07AF6FCFAC24}" destId="{3CF7EB20-C397-4A88-880D-3F215D7F9EEF}" srcOrd="0" destOrd="0" parTransId="{CADC29C4-BF0A-4296-90DB-0D034898095D}" sibTransId="{3D746652-0E0E-4525-B0FD-7820FB83578D}"/>
    <dgm:cxn modelId="{EAD8CC8B-208F-4EF4-B8E2-ACDD5F313C40}" type="presOf" srcId="{3CF7EB20-C397-4A88-880D-3F215D7F9EEF}" destId="{1B837A30-6E8B-43DE-867C-3442812939C1}" srcOrd="0" destOrd="0" presId="urn:microsoft.com/office/officeart/2005/8/layout/bList2#1"/>
    <dgm:cxn modelId="{6176CCA2-1A98-4AB3-9DE4-4136C6647940}" type="presOf" srcId="{3CF7EB20-C397-4A88-880D-3F215D7F9EEF}" destId="{E9A83FCE-84E4-48F4-9525-F9B997E206DE}" srcOrd="1" destOrd="0" presId="urn:microsoft.com/office/officeart/2005/8/layout/bList2#1"/>
    <dgm:cxn modelId="{CA501DAC-9AA8-406F-918C-F5D0A7064605}" type="presOf" srcId="{8E85B550-3702-40D9-A427-07AF6FCFAC24}" destId="{A35310C1-D341-4080-BAC2-F1991AC5AD34}" srcOrd="0" destOrd="0" presId="urn:microsoft.com/office/officeart/2005/8/layout/bList2#1"/>
    <dgm:cxn modelId="{843291DE-8423-42EB-A82E-234E595AD02B}" type="presParOf" srcId="{A35310C1-D341-4080-BAC2-F1991AC5AD34}" destId="{91B1B8B2-4071-4BB8-B7DA-3D6A1216383E}" srcOrd="0" destOrd="0" presId="urn:microsoft.com/office/officeart/2005/8/layout/bList2#1"/>
    <dgm:cxn modelId="{3D274455-28E5-4AF9-8F39-1970B848C3FC}" type="presParOf" srcId="{91B1B8B2-4071-4BB8-B7DA-3D6A1216383E}" destId="{B848A202-CF9D-4C10-8601-0750009DA951}" srcOrd="0" destOrd="0" presId="urn:microsoft.com/office/officeart/2005/8/layout/bList2#1"/>
    <dgm:cxn modelId="{A01D2C2C-5DAC-4492-8316-A06A648ADE94}" type="presParOf" srcId="{91B1B8B2-4071-4BB8-B7DA-3D6A1216383E}" destId="{1B837A30-6E8B-43DE-867C-3442812939C1}" srcOrd="1" destOrd="0" presId="urn:microsoft.com/office/officeart/2005/8/layout/bList2#1"/>
    <dgm:cxn modelId="{0E93B75F-2AAC-4A41-94CA-36247EAE10BE}" type="presParOf" srcId="{91B1B8B2-4071-4BB8-B7DA-3D6A1216383E}" destId="{E9A83FCE-84E4-48F4-9525-F9B997E206DE}" srcOrd="2" destOrd="0" presId="urn:microsoft.com/office/officeart/2005/8/layout/bList2#1"/>
    <dgm:cxn modelId="{2C4DD582-A279-4CF2-8AE8-9AAD7C321F56}" type="presParOf" srcId="{91B1B8B2-4071-4BB8-B7DA-3D6A1216383E}" destId="{5346BA52-849F-4A7D-8B52-170149EAECD6}" srcOrd="3" destOrd="0" presId="urn:microsoft.com/office/officeart/2005/8/layout/bList2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3.xml><?xml version="1.0" encoding="utf-8"?>
<dgm:dataModel xmlns:dgm="http://schemas.openxmlformats.org/drawingml/2006/diagram" xmlns:a="http://schemas.openxmlformats.org/drawingml/2006/main">
  <dgm:ptLst>
    <dgm:pt modelId="{8E85B550-3702-40D9-A427-07AF6FCFAC24}" type="doc">
      <dgm:prSet loTypeId="urn:microsoft.com/office/officeart/2005/8/layout/bList2#1" loCatId="list" qsTypeId="urn:microsoft.com/office/officeart/2005/8/quickstyle/simple1" qsCatId="simple" csTypeId="urn:microsoft.com/office/officeart/2005/8/colors/accent1_2" csCatId="accent1" phldr="1"/>
      <dgm:spPr/>
    </dgm:pt>
    <dgm:pt modelId="{3CF7EB20-C397-4A88-880D-3F215D7F9EEF}">
      <dgm:prSet phldrT="[文字]" custT="1"/>
      <dgm:spPr/>
      <dgm:t>
        <a:bodyPr/>
        <a:lstStyle/>
        <a:p>
          <a:pPr>
            <a:spcAft>
              <a:spcPts val="0"/>
            </a:spcAft>
          </a:pPr>
          <a:r>
            <a:rPr lang="zh-TW" altLang="en-US" sz="1800" dirty="0">
              <a:latin typeface="微軟正黑體" panose="020B0604030504040204" pitchFamily="34" charset="-120"/>
              <a:ea typeface="微軟正黑體" panose="020B0604030504040204" pitchFamily="34" charset="-120"/>
            </a:rPr>
            <a:t>．</a:t>
          </a:r>
          <a:r>
            <a:rPr lang="zh-TW" altLang="en-US" sz="1800" b="1" dirty="0">
              <a:latin typeface="微軟正黑體" panose="020B0604030504040204" pitchFamily="34" charset="-120"/>
              <a:ea typeface="微軟正黑體" panose="020B0604030504040204" pitchFamily="34" charset="-120"/>
              <a:hlinkClick xmlns:r="http://schemas.openxmlformats.org/officeDocument/2006/relationships" r:id="rId1"/>
            </a:rPr>
            <a:t>課程手冊</a:t>
          </a:r>
          <a:endParaRPr lang="zh-TW" altLang="en-US" sz="1800" b="1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CADC29C4-BF0A-4296-90DB-0D034898095D}" type="parTrans" cxnId="{444B5B6C-CA21-4355-93C9-C2FC617A39E1}">
      <dgm:prSet/>
      <dgm:spPr/>
      <dgm:t>
        <a:bodyPr/>
        <a:lstStyle/>
        <a:p>
          <a:endParaRPr lang="zh-TW" altLang="en-US"/>
        </a:p>
      </dgm:t>
    </dgm:pt>
    <dgm:pt modelId="{3D746652-0E0E-4525-B0FD-7820FB83578D}" type="sibTrans" cxnId="{444B5B6C-CA21-4355-93C9-C2FC617A39E1}">
      <dgm:prSet/>
      <dgm:spPr/>
      <dgm:t>
        <a:bodyPr/>
        <a:lstStyle/>
        <a:p>
          <a:endParaRPr lang="zh-TW" altLang="en-US"/>
        </a:p>
      </dgm:t>
    </dgm:pt>
    <dgm:pt modelId="{A35310C1-D341-4080-BAC2-F1991AC5AD34}" type="pres">
      <dgm:prSet presAssocID="{8E85B550-3702-40D9-A427-07AF6FCFAC24}" presName="diagram" presStyleCnt="0">
        <dgm:presLayoutVars>
          <dgm:dir/>
          <dgm:animLvl val="lvl"/>
          <dgm:resizeHandles val="exact"/>
        </dgm:presLayoutVars>
      </dgm:prSet>
      <dgm:spPr/>
    </dgm:pt>
    <dgm:pt modelId="{91B1B8B2-4071-4BB8-B7DA-3D6A1216383E}" type="pres">
      <dgm:prSet presAssocID="{3CF7EB20-C397-4A88-880D-3F215D7F9EEF}" presName="compNode" presStyleCnt="0"/>
      <dgm:spPr/>
    </dgm:pt>
    <dgm:pt modelId="{B848A202-CF9D-4C10-8601-0750009DA951}" type="pres">
      <dgm:prSet presAssocID="{3CF7EB20-C397-4A88-880D-3F215D7F9EEF}" presName="childRect" presStyleLbl="bgAcc1" presStyleIdx="0" presStyleCnt="1">
        <dgm:presLayoutVars>
          <dgm:bulletEnabled val="1"/>
        </dgm:presLayoutVars>
      </dgm:prSet>
      <dgm:spPr/>
    </dgm:pt>
    <dgm:pt modelId="{1B837A30-6E8B-43DE-867C-3442812939C1}" type="pres">
      <dgm:prSet presAssocID="{3CF7EB20-C397-4A88-880D-3F215D7F9EEF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E9A83FCE-84E4-48F4-9525-F9B997E206DE}" type="pres">
      <dgm:prSet presAssocID="{3CF7EB20-C397-4A88-880D-3F215D7F9EEF}" presName="parentRect" presStyleLbl="alignNode1" presStyleIdx="0" presStyleCnt="1" custScaleY="112306" custLinFactNeighborX="156" custLinFactNeighborY="35089"/>
      <dgm:spPr/>
    </dgm:pt>
    <dgm:pt modelId="{5346BA52-849F-4A7D-8B52-170149EAECD6}" type="pres">
      <dgm:prSet presAssocID="{3CF7EB20-C397-4A88-880D-3F215D7F9EEF}" presName="adorn" presStyleLbl="fgAccFollowNode1" presStyleIdx="0" presStyleCnt="1" custFlipVert="1" custFlipHor="1" custScaleX="3992" custScaleY="3992" custLinFactX="100000" custLinFactY="-100000" custLinFactNeighborX="191203" custLinFactNeighborY="-167775"/>
      <dgm:spPr/>
    </dgm:pt>
  </dgm:ptLst>
  <dgm:cxnLst>
    <dgm:cxn modelId="{444B5B6C-CA21-4355-93C9-C2FC617A39E1}" srcId="{8E85B550-3702-40D9-A427-07AF6FCFAC24}" destId="{3CF7EB20-C397-4A88-880D-3F215D7F9EEF}" srcOrd="0" destOrd="0" parTransId="{CADC29C4-BF0A-4296-90DB-0D034898095D}" sibTransId="{3D746652-0E0E-4525-B0FD-7820FB83578D}"/>
    <dgm:cxn modelId="{EA9A6556-72D0-420A-A0B3-9263A1A55699}" type="presOf" srcId="{3CF7EB20-C397-4A88-880D-3F215D7F9EEF}" destId="{E9A83FCE-84E4-48F4-9525-F9B997E206DE}" srcOrd="1" destOrd="0" presId="urn:microsoft.com/office/officeart/2005/8/layout/bList2#1"/>
    <dgm:cxn modelId="{BC376D89-1952-439B-9709-C171EE5A6ABD}" type="presOf" srcId="{3CF7EB20-C397-4A88-880D-3F215D7F9EEF}" destId="{1B837A30-6E8B-43DE-867C-3442812939C1}" srcOrd="0" destOrd="0" presId="urn:microsoft.com/office/officeart/2005/8/layout/bList2#1"/>
    <dgm:cxn modelId="{801B58CA-3EA9-4236-A28A-008358AE8F19}" type="presOf" srcId="{8E85B550-3702-40D9-A427-07AF6FCFAC24}" destId="{A35310C1-D341-4080-BAC2-F1991AC5AD34}" srcOrd="0" destOrd="0" presId="urn:microsoft.com/office/officeart/2005/8/layout/bList2#1"/>
    <dgm:cxn modelId="{70DF08BA-5908-491E-94DE-35F65E24F7ED}" type="presParOf" srcId="{A35310C1-D341-4080-BAC2-F1991AC5AD34}" destId="{91B1B8B2-4071-4BB8-B7DA-3D6A1216383E}" srcOrd="0" destOrd="0" presId="urn:microsoft.com/office/officeart/2005/8/layout/bList2#1"/>
    <dgm:cxn modelId="{22CD50FB-34D9-4ACA-80A3-FE1AE58AC4C0}" type="presParOf" srcId="{91B1B8B2-4071-4BB8-B7DA-3D6A1216383E}" destId="{B848A202-CF9D-4C10-8601-0750009DA951}" srcOrd="0" destOrd="0" presId="urn:microsoft.com/office/officeart/2005/8/layout/bList2#1"/>
    <dgm:cxn modelId="{EF5C72CA-4410-42EA-9E61-0DECF850FA54}" type="presParOf" srcId="{91B1B8B2-4071-4BB8-B7DA-3D6A1216383E}" destId="{1B837A30-6E8B-43DE-867C-3442812939C1}" srcOrd="1" destOrd="0" presId="urn:microsoft.com/office/officeart/2005/8/layout/bList2#1"/>
    <dgm:cxn modelId="{82C3B259-5803-4A97-B371-1A5C75479604}" type="presParOf" srcId="{91B1B8B2-4071-4BB8-B7DA-3D6A1216383E}" destId="{E9A83FCE-84E4-48F4-9525-F9B997E206DE}" srcOrd="2" destOrd="0" presId="urn:microsoft.com/office/officeart/2005/8/layout/bList2#1"/>
    <dgm:cxn modelId="{05467267-8880-4A4F-A901-26DB938B6075}" type="presParOf" srcId="{91B1B8B2-4071-4BB8-B7DA-3D6A1216383E}" destId="{5346BA52-849F-4A7D-8B52-170149EAECD6}" srcOrd="3" destOrd="0" presId="urn:microsoft.com/office/officeart/2005/8/layout/bList2#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45F1EA8-9680-437A-BE6B-3E5BD055DA41}" type="doc">
      <dgm:prSet loTypeId="urn:microsoft.com/office/officeart/2005/8/layout/hierarchy6" loCatId="hierarchy" qsTypeId="urn:microsoft.com/office/officeart/2005/8/quickstyle/simple4" qsCatId="simple" csTypeId="urn:microsoft.com/office/officeart/2005/8/colors/colorful5" csCatId="colorful" phldr="1"/>
      <dgm:spPr/>
      <dgm:t>
        <a:bodyPr/>
        <a:lstStyle/>
        <a:p>
          <a:endParaRPr lang="zh-TW" altLang="en-US"/>
        </a:p>
      </dgm:t>
    </dgm:pt>
    <dgm:pt modelId="{A8500810-9EE8-49EF-9AA5-344A75E210B5}">
      <dgm:prSet phldrT="[文字]" custT="1"/>
      <dgm:spPr>
        <a:solidFill>
          <a:schemeClr val="accent4">
            <a:lumMod val="60000"/>
            <a:lumOff val="40000"/>
          </a:schemeClr>
        </a:solidFill>
      </dgm:spPr>
      <dgm:t>
        <a:bodyPr/>
        <a:lstStyle/>
        <a:p>
          <a:r>
            <a:rPr lang="zh-TW" altLang="en-US" sz="32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imes New Roman" pitchFamily="18" charset="0"/>
            </a:rPr>
            <a:t>國民中小學</a:t>
          </a:r>
          <a:endParaRPr lang="zh-TW" altLang="en-US" sz="3200" b="1" dirty="0">
            <a:solidFill>
              <a:schemeClr val="tx1">
                <a:lumMod val="75000"/>
                <a:lumOff val="2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563116AA-08B1-4676-97E1-625BD9D2512C}" type="parTrans" cxnId="{4C8AEBF6-E637-4EF6-AD5B-F299999EAEA4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F5233B3E-CCBB-4909-AE8A-C26654693FA9}" type="sibTrans" cxnId="{4C8AEBF6-E637-4EF6-AD5B-F299999EAEA4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C2DC16F9-C6EC-480A-B686-BC25AD0E0940}">
      <dgm:prSet phldrT="[文字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pPr>
            <a:spcAft>
              <a:spcPts val="0"/>
            </a:spcAft>
          </a:pPr>
          <a:r>
            <a:rPr lang="zh-TW" alt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領域學習課程</a:t>
          </a:r>
        </a:p>
      </dgm:t>
    </dgm:pt>
    <dgm:pt modelId="{0F715909-E436-46F5-BB8E-3D36CCA5A091}" type="parTrans" cxnId="{87EB0CA6-6A6A-49C9-93BA-9C6B60CA990F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EEC23AB4-9184-415B-ACDE-1D1B2744BFFB}" type="sibTrans" cxnId="{87EB0CA6-6A6A-49C9-93BA-9C6B60CA990F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7C8AEDC3-014C-4961-945C-F635A541BE21}">
      <dgm:prSet phldrT="[文字]" custT="1"/>
      <dgm:spPr>
        <a:solidFill>
          <a:schemeClr val="accent2">
            <a:lumMod val="40000"/>
            <a:lumOff val="60000"/>
          </a:schemeClr>
        </a:solidFill>
        <a:ln>
          <a:noFill/>
        </a:ln>
      </dgm:spPr>
      <dgm:t>
        <a:bodyPr/>
        <a:lstStyle/>
        <a:p>
          <a:r>
            <a:rPr lang="zh-TW" alt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八大領域</a:t>
          </a:r>
        </a:p>
      </dgm:t>
    </dgm:pt>
    <dgm:pt modelId="{A6719D78-B3F8-47B1-A613-12AC3E245E83}" type="parTrans" cxnId="{C105895A-3973-4966-9823-BAC29C9D937D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2E7FBDE3-D9AA-4AF6-9FBE-A19AA6C6CE0B}" type="sibTrans" cxnId="{C105895A-3973-4966-9823-BAC29C9D937D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60DAD31E-E446-41ED-8DAE-192D1B67D357}">
      <dgm:prSet phldrT="[文字]" custT="1"/>
      <dgm:spPr>
        <a:solidFill>
          <a:schemeClr val="accent6">
            <a:lumMod val="60000"/>
            <a:lumOff val="40000"/>
          </a:schemeClr>
        </a:solidFill>
      </dgm:spPr>
      <dgm:t>
        <a:bodyPr/>
        <a:lstStyle/>
        <a:p>
          <a:pPr>
            <a:spcAft>
              <a:spcPts val="0"/>
            </a:spcAft>
          </a:pPr>
          <a:r>
            <a:rPr lang="zh-TW" alt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彈性學習課程</a:t>
          </a:r>
        </a:p>
      </dgm:t>
    </dgm:pt>
    <dgm:pt modelId="{4DD9C845-7120-4FB1-A592-04B0EFD25256}" type="parTrans" cxnId="{ADA3C104-BA42-443D-A3B2-8297296DDA86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5253E514-87A1-42E9-B9BD-097A12C92386}" type="sibTrans" cxnId="{ADA3C104-BA42-443D-A3B2-8297296DDA86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4B870C06-61C0-4FA7-9A80-CF74F1E7AF9F}">
      <dgm:prSet phldrT="[文字]" custT="1"/>
      <dgm:spPr>
        <a:solidFill>
          <a:schemeClr val="accent2">
            <a:lumMod val="40000"/>
            <a:lumOff val="60000"/>
          </a:schemeClr>
        </a:solidFill>
      </dgm:spPr>
      <dgm:t>
        <a:bodyPr/>
        <a:lstStyle/>
        <a:p>
          <a:pPr marL="180975" indent="-180975" algn="l">
            <a:spcAft>
              <a:spcPts val="0"/>
            </a:spcAft>
          </a:pPr>
          <a:r>
            <a:rPr lang="en-US" altLang="zh-TW" sz="18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1.</a:t>
          </a:r>
          <a:r>
            <a:rPr lang="zh-TW" sz="18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統整性主題</a:t>
          </a:r>
          <a:r>
            <a:rPr lang="en-US" sz="18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/</a:t>
          </a:r>
          <a:r>
            <a:rPr lang="zh-TW" sz="18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專題</a:t>
          </a:r>
          <a:r>
            <a:rPr lang="en-US" sz="18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/</a:t>
          </a:r>
          <a:r>
            <a:rPr lang="zh-TW" sz="18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議題探究課程</a:t>
          </a:r>
          <a:endParaRPr lang="en-US" altLang="zh-TW" sz="1800" b="1" dirty="0">
            <a:solidFill>
              <a:schemeClr val="tx1">
                <a:lumMod val="75000"/>
                <a:lumOff val="2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algn="l">
            <a:spcAft>
              <a:spcPts val="0"/>
            </a:spcAft>
          </a:pPr>
          <a:r>
            <a:rPr lang="en-US" altLang="zh-TW" sz="18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2.</a:t>
          </a:r>
          <a:r>
            <a:rPr lang="zh-TW" sz="18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社團活動與技藝課程</a:t>
          </a:r>
          <a:endParaRPr lang="en-US" altLang="zh-TW" sz="1800" b="1" dirty="0">
            <a:solidFill>
              <a:schemeClr val="tx1">
                <a:lumMod val="75000"/>
                <a:lumOff val="2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algn="l">
            <a:spcAft>
              <a:spcPts val="0"/>
            </a:spcAft>
          </a:pPr>
          <a:r>
            <a:rPr lang="en-US" altLang="zh-TW" sz="18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3.</a:t>
          </a:r>
          <a:r>
            <a:rPr lang="zh-TW" sz="18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特殊需求領域課程</a:t>
          </a:r>
          <a:endParaRPr lang="en-US" altLang="zh-TW" sz="1800" b="1" dirty="0">
            <a:solidFill>
              <a:schemeClr val="tx1">
                <a:lumMod val="75000"/>
                <a:lumOff val="2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algn="l">
            <a:spcAft>
              <a:spcPts val="0"/>
            </a:spcAft>
          </a:pPr>
          <a:r>
            <a:rPr lang="en-US" altLang="zh-TW" sz="18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4.</a:t>
          </a:r>
          <a:r>
            <a:rPr lang="zh-TW" sz="1800" b="1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其他類課程</a:t>
          </a:r>
          <a:endParaRPr lang="zh-TW" altLang="en-US" sz="1800" b="1" dirty="0">
            <a:solidFill>
              <a:schemeClr val="tx1">
                <a:lumMod val="75000"/>
                <a:lumOff val="2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E06363B4-1CBD-408D-90DC-065778E5FCB5}" type="parTrans" cxnId="{BE674D09-F005-4415-B0FB-3E2B178566CB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D664696F-3D9D-4376-9946-62E94D6AC791}" type="sibTrans" cxnId="{BE674D09-F005-4415-B0FB-3E2B178566CB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4EA1F9BC-3330-4079-A901-0C4B0B1A4A20}">
      <dgm:prSet phldrT="[文字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zh-TW" altLang="en-US" sz="32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rPr>
            <a:t>教育階段</a:t>
          </a:r>
        </a:p>
      </dgm:t>
    </dgm:pt>
    <dgm:pt modelId="{5E2347F0-E3E3-436E-B79A-EDD91562C780}" type="parTrans" cxnId="{0A3E2D3F-85A5-4A41-A09E-C553A68FCBD4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5FDCF4EC-E099-4953-8900-79C2F1480ABA}" type="sibTrans" cxnId="{0A3E2D3F-85A5-4A41-A09E-C553A68FCBD4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A0685B2A-A6EE-4817-9F7E-8B3CB3D3F296}">
      <dgm:prSet phldrT="[文字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zh-TW" altLang="en-US" sz="3200" b="1" dirty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rPr>
            <a:t>課程類型</a:t>
          </a:r>
        </a:p>
      </dgm:t>
    </dgm:pt>
    <dgm:pt modelId="{5807539C-3C7F-4069-A54B-E06BD60F236B}" type="parTrans" cxnId="{742AB0FF-2214-4B2A-AE50-FC4A1A328495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4214C0C2-9E2B-4FFB-B80C-6C78DA585CE0}" type="sibTrans" cxnId="{742AB0FF-2214-4B2A-AE50-FC4A1A328495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043BDE1D-B32D-453E-9C46-1E356110C225}">
      <dgm:prSet phldrT="[文字]" custT="1"/>
      <dgm:spPr>
        <a:solidFill>
          <a:schemeClr val="bg1">
            <a:lumMod val="95000"/>
          </a:schemeClr>
        </a:solidFill>
      </dgm:spPr>
      <dgm:t>
        <a:bodyPr/>
        <a:lstStyle/>
        <a:p>
          <a:r>
            <a:rPr lang="zh-TW" altLang="en-US" sz="3200" b="1" dirty="0">
              <a:solidFill>
                <a:srgbClr val="FF99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rPr>
            <a:t>課程內容</a:t>
          </a:r>
        </a:p>
      </dgm:t>
    </dgm:pt>
    <dgm:pt modelId="{0A7F3AD5-C34F-40E1-8840-44C8F4150C9A}" type="parTrans" cxnId="{B42EA97C-FA61-44CE-99FD-DEE055B30B15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8C7B4839-13E1-4DD7-967C-A377FDEAB78C}" type="sibTrans" cxnId="{B42EA97C-FA61-44CE-99FD-DEE055B30B15}">
      <dgm:prSet/>
      <dgm:spPr/>
      <dgm:t>
        <a:bodyPr/>
        <a:lstStyle/>
        <a:p>
          <a:endParaRPr lang="zh-TW" altLang="en-US">
            <a:latin typeface="微軟正黑體" panose="020B0604030504040204" pitchFamily="34" charset="-120"/>
            <a:ea typeface="微軟正黑體" panose="020B0604030504040204" pitchFamily="34" charset="-120"/>
          </a:endParaRPr>
        </a:p>
      </dgm:t>
    </dgm:pt>
    <dgm:pt modelId="{EEC44ECE-8FDE-46BF-B68D-B5449B1D2F08}" type="pres">
      <dgm:prSet presAssocID="{F45F1EA8-9680-437A-BE6B-3E5BD055DA41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B2DFB700-B75B-4020-9DE6-4D0252D4B179}" type="pres">
      <dgm:prSet presAssocID="{F45F1EA8-9680-437A-BE6B-3E5BD055DA41}" presName="hierFlow" presStyleCnt="0"/>
      <dgm:spPr/>
    </dgm:pt>
    <dgm:pt modelId="{5887F630-8F8A-42CB-A9CD-0A1399F1F83C}" type="pres">
      <dgm:prSet presAssocID="{F45F1EA8-9680-437A-BE6B-3E5BD055DA41}" presName="firstBuf" presStyleCnt="0"/>
      <dgm:spPr/>
    </dgm:pt>
    <dgm:pt modelId="{4123304E-ADDE-4C96-B4F5-2139CE420F6A}" type="pres">
      <dgm:prSet presAssocID="{F45F1EA8-9680-437A-BE6B-3E5BD055DA41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BD3ACFCE-1A6C-454F-A290-159EE5DE3409}" type="pres">
      <dgm:prSet presAssocID="{A8500810-9EE8-49EF-9AA5-344A75E210B5}" presName="Name14" presStyleCnt="0"/>
      <dgm:spPr/>
    </dgm:pt>
    <dgm:pt modelId="{A0834E09-F94E-4A0B-A9B9-3540E594EA10}" type="pres">
      <dgm:prSet presAssocID="{A8500810-9EE8-49EF-9AA5-344A75E210B5}" presName="level1Shape" presStyleLbl="node0" presStyleIdx="0" presStyleCnt="1" custScaleX="164085" custScaleY="76208" custLinFactNeighborX="-1400" custLinFactNeighborY="8189">
        <dgm:presLayoutVars>
          <dgm:chPref val="3"/>
        </dgm:presLayoutVars>
      </dgm:prSet>
      <dgm:spPr/>
    </dgm:pt>
    <dgm:pt modelId="{C228B206-5930-4712-8FA5-62F2FCDE4B20}" type="pres">
      <dgm:prSet presAssocID="{A8500810-9EE8-49EF-9AA5-344A75E210B5}" presName="hierChild2" presStyleCnt="0"/>
      <dgm:spPr/>
    </dgm:pt>
    <dgm:pt modelId="{45C0E22E-070B-413E-B4BE-73A740661682}" type="pres">
      <dgm:prSet presAssocID="{0F715909-E436-46F5-BB8E-3D36CCA5A091}" presName="Name19" presStyleLbl="parChTrans1D2" presStyleIdx="0" presStyleCnt="2"/>
      <dgm:spPr/>
    </dgm:pt>
    <dgm:pt modelId="{02CF7F1C-D0ED-4A09-8880-D9D8C9B4C6D8}" type="pres">
      <dgm:prSet presAssocID="{C2DC16F9-C6EC-480A-B686-BC25AD0E0940}" presName="Name21" presStyleCnt="0"/>
      <dgm:spPr/>
    </dgm:pt>
    <dgm:pt modelId="{EDA7E8EE-D5C7-461C-8367-580082AAB01D}" type="pres">
      <dgm:prSet presAssocID="{C2DC16F9-C6EC-480A-B686-BC25AD0E0940}" presName="level2Shape" presStyleLbl="node2" presStyleIdx="0" presStyleCnt="2" custScaleX="146157" custScaleY="55959" custLinFactNeighborX="-1005" custLinFactNeighborY="47832"/>
      <dgm:spPr/>
    </dgm:pt>
    <dgm:pt modelId="{8B6FA77D-A3E0-4FAB-9BE1-0B7F79A36F62}" type="pres">
      <dgm:prSet presAssocID="{C2DC16F9-C6EC-480A-B686-BC25AD0E0940}" presName="hierChild3" presStyleCnt="0"/>
      <dgm:spPr/>
    </dgm:pt>
    <dgm:pt modelId="{DFBB11B0-F92D-4C99-9AD7-598E4D51462A}" type="pres">
      <dgm:prSet presAssocID="{A6719D78-B3F8-47B1-A613-12AC3E245E83}" presName="Name19" presStyleLbl="parChTrans1D3" presStyleIdx="0" presStyleCnt="2"/>
      <dgm:spPr/>
    </dgm:pt>
    <dgm:pt modelId="{3EB831D3-7437-4EA8-9DC7-D0FD3DA8A511}" type="pres">
      <dgm:prSet presAssocID="{7C8AEDC3-014C-4961-945C-F635A541BE21}" presName="Name21" presStyleCnt="0"/>
      <dgm:spPr/>
    </dgm:pt>
    <dgm:pt modelId="{78A7D40E-02E8-486D-B3CD-A273D4A75CB0}" type="pres">
      <dgm:prSet presAssocID="{7C8AEDC3-014C-4961-945C-F635A541BE21}" presName="level2Shape" presStyleLbl="node3" presStyleIdx="0" presStyleCnt="2" custScaleX="137961" custScaleY="67313" custLinFactNeighborX="-583" custLinFactNeighborY="79063"/>
      <dgm:spPr/>
    </dgm:pt>
    <dgm:pt modelId="{82EFB24E-74E7-4E4B-B830-F9E84F0AD40A}" type="pres">
      <dgm:prSet presAssocID="{7C8AEDC3-014C-4961-945C-F635A541BE21}" presName="hierChild3" presStyleCnt="0"/>
      <dgm:spPr/>
    </dgm:pt>
    <dgm:pt modelId="{B480F158-E0B1-4D38-8C83-70B0AFBC669B}" type="pres">
      <dgm:prSet presAssocID="{4DD9C845-7120-4FB1-A592-04B0EFD25256}" presName="Name19" presStyleLbl="parChTrans1D2" presStyleIdx="1" presStyleCnt="2"/>
      <dgm:spPr/>
    </dgm:pt>
    <dgm:pt modelId="{592412B3-0FE0-4930-800C-3C134195774D}" type="pres">
      <dgm:prSet presAssocID="{60DAD31E-E446-41ED-8DAE-192D1B67D357}" presName="Name21" presStyleCnt="0"/>
      <dgm:spPr/>
    </dgm:pt>
    <dgm:pt modelId="{100EB76B-CDFE-41EE-A7A2-296328D4BCD6}" type="pres">
      <dgm:prSet presAssocID="{60DAD31E-E446-41ED-8DAE-192D1B67D357}" presName="level2Shape" presStyleLbl="node2" presStyleIdx="1" presStyleCnt="2" custScaleX="143240" custScaleY="50884" custLinFactNeighborX="140" custLinFactNeighborY="47369"/>
      <dgm:spPr/>
    </dgm:pt>
    <dgm:pt modelId="{9177FD59-1EFF-4469-A50B-94774B847190}" type="pres">
      <dgm:prSet presAssocID="{60DAD31E-E446-41ED-8DAE-192D1B67D357}" presName="hierChild3" presStyleCnt="0"/>
      <dgm:spPr/>
    </dgm:pt>
    <dgm:pt modelId="{467385A6-D0D7-431A-99D3-AF86122EE20D}" type="pres">
      <dgm:prSet presAssocID="{E06363B4-1CBD-408D-90DC-065778E5FCB5}" presName="Name19" presStyleLbl="parChTrans1D3" presStyleIdx="1" presStyleCnt="2"/>
      <dgm:spPr/>
    </dgm:pt>
    <dgm:pt modelId="{DCB0EFAF-8B30-4D77-AA2F-DD06E43F7660}" type="pres">
      <dgm:prSet presAssocID="{4B870C06-61C0-4FA7-9A80-CF74F1E7AF9F}" presName="Name21" presStyleCnt="0"/>
      <dgm:spPr/>
    </dgm:pt>
    <dgm:pt modelId="{E35E7626-07BD-4A70-998E-9EBFAC04375E}" type="pres">
      <dgm:prSet presAssocID="{4B870C06-61C0-4FA7-9A80-CF74F1E7AF9F}" presName="level2Shape" presStyleLbl="node3" presStyleIdx="1" presStyleCnt="2" custScaleX="175337" custScaleY="216353" custLinFactNeighborX="801" custLinFactNeighborY="25940"/>
      <dgm:spPr/>
    </dgm:pt>
    <dgm:pt modelId="{BEDE0F7E-6249-4716-B2A1-F80AC27E4514}" type="pres">
      <dgm:prSet presAssocID="{4B870C06-61C0-4FA7-9A80-CF74F1E7AF9F}" presName="hierChild3" presStyleCnt="0"/>
      <dgm:spPr/>
    </dgm:pt>
    <dgm:pt modelId="{C449178C-DF01-425E-802C-034F8B4B1EDA}" type="pres">
      <dgm:prSet presAssocID="{F45F1EA8-9680-437A-BE6B-3E5BD055DA41}" presName="bgShapesFlow" presStyleCnt="0"/>
      <dgm:spPr/>
    </dgm:pt>
    <dgm:pt modelId="{457E34B3-51DC-4635-9F0B-78AFB321BB50}" type="pres">
      <dgm:prSet presAssocID="{4EA1F9BC-3330-4079-A901-0C4B0B1A4A20}" presName="rectComp" presStyleCnt="0"/>
      <dgm:spPr/>
    </dgm:pt>
    <dgm:pt modelId="{9CC68027-AD3E-4C14-BBB5-64BDC8B6ADD5}" type="pres">
      <dgm:prSet presAssocID="{4EA1F9BC-3330-4079-A901-0C4B0B1A4A20}" presName="bgRect" presStyleLbl="bgShp" presStyleIdx="0" presStyleCnt="3" custLinFactNeighborX="-1183" custLinFactNeighborY="-382"/>
      <dgm:spPr/>
    </dgm:pt>
    <dgm:pt modelId="{949DF0EB-3749-40CC-84CC-2F32917930F8}" type="pres">
      <dgm:prSet presAssocID="{4EA1F9BC-3330-4079-A901-0C4B0B1A4A20}" presName="bgRectTx" presStyleLbl="bgShp" presStyleIdx="0" presStyleCnt="3">
        <dgm:presLayoutVars>
          <dgm:bulletEnabled val="1"/>
        </dgm:presLayoutVars>
      </dgm:prSet>
      <dgm:spPr/>
    </dgm:pt>
    <dgm:pt modelId="{4FDC3252-B561-4667-9FE6-346371AF3A9C}" type="pres">
      <dgm:prSet presAssocID="{4EA1F9BC-3330-4079-A901-0C4B0B1A4A20}" presName="spComp" presStyleCnt="0"/>
      <dgm:spPr/>
    </dgm:pt>
    <dgm:pt modelId="{1B944955-F001-421E-AF57-45062DD9D4EB}" type="pres">
      <dgm:prSet presAssocID="{4EA1F9BC-3330-4079-A901-0C4B0B1A4A20}" presName="vSp" presStyleCnt="0"/>
      <dgm:spPr/>
    </dgm:pt>
    <dgm:pt modelId="{7FBCAF02-FCF3-4EC0-B567-5B9E0FD04D09}" type="pres">
      <dgm:prSet presAssocID="{A0685B2A-A6EE-4817-9F7E-8B3CB3D3F296}" presName="rectComp" presStyleCnt="0"/>
      <dgm:spPr/>
    </dgm:pt>
    <dgm:pt modelId="{58E55AAA-DE08-4607-8F5B-A298F20DA1DD}" type="pres">
      <dgm:prSet presAssocID="{A0685B2A-A6EE-4817-9F7E-8B3CB3D3F296}" presName="bgRect" presStyleLbl="bgShp" presStyleIdx="1" presStyleCnt="3" custLinFactNeighborX="-205" custLinFactNeighborY="1683"/>
      <dgm:spPr/>
    </dgm:pt>
    <dgm:pt modelId="{2CE8E76B-7525-471E-BFB7-BED784677E90}" type="pres">
      <dgm:prSet presAssocID="{A0685B2A-A6EE-4817-9F7E-8B3CB3D3F296}" presName="bgRectTx" presStyleLbl="bgShp" presStyleIdx="1" presStyleCnt="3">
        <dgm:presLayoutVars>
          <dgm:bulletEnabled val="1"/>
        </dgm:presLayoutVars>
      </dgm:prSet>
      <dgm:spPr/>
    </dgm:pt>
    <dgm:pt modelId="{70AD92CC-7523-4F1B-87E1-90BA8649894F}" type="pres">
      <dgm:prSet presAssocID="{A0685B2A-A6EE-4817-9F7E-8B3CB3D3F296}" presName="spComp" presStyleCnt="0"/>
      <dgm:spPr/>
    </dgm:pt>
    <dgm:pt modelId="{12CE4879-7062-48D9-B0FF-31899C3BF317}" type="pres">
      <dgm:prSet presAssocID="{A0685B2A-A6EE-4817-9F7E-8B3CB3D3F296}" presName="vSp" presStyleCnt="0"/>
      <dgm:spPr/>
    </dgm:pt>
    <dgm:pt modelId="{072FAC22-63EB-40A9-84E3-40B3CB809933}" type="pres">
      <dgm:prSet presAssocID="{043BDE1D-B32D-453E-9C46-1E356110C225}" presName="rectComp" presStyleCnt="0"/>
      <dgm:spPr/>
    </dgm:pt>
    <dgm:pt modelId="{889D6E4C-FA87-4C38-B0E2-EC17F927D833}" type="pres">
      <dgm:prSet presAssocID="{043BDE1D-B32D-453E-9C46-1E356110C225}" presName="bgRect" presStyleLbl="bgShp" presStyleIdx="2" presStyleCnt="3"/>
      <dgm:spPr/>
    </dgm:pt>
    <dgm:pt modelId="{D3C8D2B9-864A-409B-A4A0-20D1FF4F5E5F}" type="pres">
      <dgm:prSet presAssocID="{043BDE1D-B32D-453E-9C46-1E356110C225}" presName="bgRectTx" presStyleLbl="bgShp" presStyleIdx="2" presStyleCnt="3">
        <dgm:presLayoutVars>
          <dgm:bulletEnabled val="1"/>
        </dgm:presLayoutVars>
      </dgm:prSet>
      <dgm:spPr/>
    </dgm:pt>
  </dgm:ptLst>
  <dgm:cxnLst>
    <dgm:cxn modelId="{ADA3C104-BA42-443D-A3B2-8297296DDA86}" srcId="{A8500810-9EE8-49EF-9AA5-344A75E210B5}" destId="{60DAD31E-E446-41ED-8DAE-192D1B67D357}" srcOrd="1" destOrd="0" parTransId="{4DD9C845-7120-4FB1-A592-04B0EFD25256}" sibTransId="{5253E514-87A1-42E9-B9BD-097A12C92386}"/>
    <dgm:cxn modelId="{BE674D09-F005-4415-B0FB-3E2B178566CB}" srcId="{60DAD31E-E446-41ED-8DAE-192D1B67D357}" destId="{4B870C06-61C0-4FA7-9A80-CF74F1E7AF9F}" srcOrd="0" destOrd="0" parTransId="{E06363B4-1CBD-408D-90DC-065778E5FCB5}" sibTransId="{D664696F-3D9D-4376-9946-62E94D6AC791}"/>
    <dgm:cxn modelId="{109AF729-A66B-4872-ABC5-403D544A53C2}" type="presOf" srcId="{043BDE1D-B32D-453E-9C46-1E356110C225}" destId="{D3C8D2B9-864A-409B-A4A0-20D1FF4F5E5F}" srcOrd="1" destOrd="0" presId="urn:microsoft.com/office/officeart/2005/8/layout/hierarchy6"/>
    <dgm:cxn modelId="{98FDEF3B-1D0D-45AA-B181-3AAD391CD6C5}" type="presOf" srcId="{4B870C06-61C0-4FA7-9A80-CF74F1E7AF9F}" destId="{E35E7626-07BD-4A70-998E-9EBFAC04375E}" srcOrd="0" destOrd="0" presId="urn:microsoft.com/office/officeart/2005/8/layout/hierarchy6"/>
    <dgm:cxn modelId="{0A3E2D3F-85A5-4A41-A09E-C553A68FCBD4}" srcId="{F45F1EA8-9680-437A-BE6B-3E5BD055DA41}" destId="{4EA1F9BC-3330-4079-A901-0C4B0B1A4A20}" srcOrd="1" destOrd="0" parTransId="{5E2347F0-E3E3-436E-B79A-EDD91562C780}" sibTransId="{5FDCF4EC-E099-4953-8900-79C2F1480ABA}"/>
    <dgm:cxn modelId="{E0599041-1E74-4563-9C71-DB0E3AAFB4C0}" type="presOf" srcId="{A6719D78-B3F8-47B1-A613-12AC3E245E83}" destId="{DFBB11B0-F92D-4C99-9AD7-598E4D51462A}" srcOrd="0" destOrd="0" presId="urn:microsoft.com/office/officeart/2005/8/layout/hierarchy6"/>
    <dgm:cxn modelId="{6AC3DA6A-16DB-404F-823A-71C971666164}" type="presOf" srcId="{4EA1F9BC-3330-4079-A901-0C4B0B1A4A20}" destId="{9CC68027-AD3E-4C14-BBB5-64BDC8B6ADD5}" srcOrd="0" destOrd="0" presId="urn:microsoft.com/office/officeart/2005/8/layout/hierarchy6"/>
    <dgm:cxn modelId="{95AB3A4F-A7B6-48A0-821F-E48CD8C4E145}" type="presOf" srcId="{A8500810-9EE8-49EF-9AA5-344A75E210B5}" destId="{A0834E09-F94E-4A0B-A9B9-3540E594EA10}" srcOrd="0" destOrd="0" presId="urn:microsoft.com/office/officeart/2005/8/layout/hierarchy6"/>
    <dgm:cxn modelId="{D039FD58-A100-4E53-AC8B-8F538A2208EE}" type="presOf" srcId="{F45F1EA8-9680-437A-BE6B-3E5BD055DA41}" destId="{EEC44ECE-8FDE-46BF-B68D-B5449B1D2F08}" srcOrd="0" destOrd="0" presId="urn:microsoft.com/office/officeart/2005/8/layout/hierarchy6"/>
    <dgm:cxn modelId="{C105895A-3973-4966-9823-BAC29C9D937D}" srcId="{C2DC16F9-C6EC-480A-B686-BC25AD0E0940}" destId="{7C8AEDC3-014C-4961-945C-F635A541BE21}" srcOrd="0" destOrd="0" parTransId="{A6719D78-B3F8-47B1-A613-12AC3E245E83}" sibTransId="{2E7FBDE3-D9AA-4AF6-9FBE-A19AA6C6CE0B}"/>
    <dgm:cxn modelId="{B42EA97C-FA61-44CE-99FD-DEE055B30B15}" srcId="{F45F1EA8-9680-437A-BE6B-3E5BD055DA41}" destId="{043BDE1D-B32D-453E-9C46-1E356110C225}" srcOrd="3" destOrd="0" parTransId="{0A7F3AD5-C34F-40E1-8840-44C8F4150C9A}" sibTransId="{8C7B4839-13E1-4DD7-967C-A377FDEAB78C}"/>
    <dgm:cxn modelId="{E0B4EC7E-AD9E-4878-8AFD-DCD5EB3DB787}" type="presOf" srcId="{043BDE1D-B32D-453E-9C46-1E356110C225}" destId="{889D6E4C-FA87-4C38-B0E2-EC17F927D833}" srcOrd="0" destOrd="0" presId="urn:microsoft.com/office/officeart/2005/8/layout/hierarchy6"/>
    <dgm:cxn modelId="{4547AF95-A766-4A10-90BE-778241D2CE48}" type="presOf" srcId="{4DD9C845-7120-4FB1-A592-04B0EFD25256}" destId="{B480F158-E0B1-4D38-8C83-70B0AFBC669B}" srcOrd="0" destOrd="0" presId="urn:microsoft.com/office/officeart/2005/8/layout/hierarchy6"/>
    <dgm:cxn modelId="{78D845A0-E2AF-4FD3-84C0-84DC42C5BD57}" type="presOf" srcId="{4EA1F9BC-3330-4079-A901-0C4B0B1A4A20}" destId="{949DF0EB-3749-40CC-84CC-2F32917930F8}" srcOrd="1" destOrd="0" presId="urn:microsoft.com/office/officeart/2005/8/layout/hierarchy6"/>
    <dgm:cxn modelId="{2C63E9A1-96C3-4C01-B06C-FD6AC18AFD6E}" type="presOf" srcId="{0F715909-E436-46F5-BB8E-3D36CCA5A091}" destId="{45C0E22E-070B-413E-B4BE-73A740661682}" srcOrd="0" destOrd="0" presId="urn:microsoft.com/office/officeart/2005/8/layout/hierarchy6"/>
    <dgm:cxn modelId="{87EB0CA6-6A6A-49C9-93BA-9C6B60CA990F}" srcId="{A8500810-9EE8-49EF-9AA5-344A75E210B5}" destId="{C2DC16F9-C6EC-480A-B686-BC25AD0E0940}" srcOrd="0" destOrd="0" parTransId="{0F715909-E436-46F5-BB8E-3D36CCA5A091}" sibTransId="{EEC23AB4-9184-415B-ACDE-1D1B2744BFFB}"/>
    <dgm:cxn modelId="{F63A15A8-48A5-44EC-B13B-CE7B594ADE50}" type="presOf" srcId="{A0685B2A-A6EE-4817-9F7E-8B3CB3D3F296}" destId="{58E55AAA-DE08-4607-8F5B-A298F20DA1DD}" srcOrd="0" destOrd="0" presId="urn:microsoft.com/office/officeart/2005/8/layout/hierarchy6"/>
    <dgm:cxn modelId="{F54EF7B7-8A15-4E2A-B0A2-7BEABB0A5130}" type="presOf" srcId="{E06363B4-1CBD-408D-90DC-065778E5FCB5}" destId="{467385A6-D0D7-431A-99D3-AF86122EE20D}" srcOrd="0" destOrd="0" presId="urn:microsoft.com/office/officeart/2005/8/layout/hierarchy6"/>
    <dgm:cxn modelId="{57502BCB-E1E7-4155-B9FF-72B240462032}" type="presOf" srcId="{A0685B2A-A6EE-4817-9F7E-8B3CB3D3F296}" destId="{2CE8E76B-7525-471E-BFB7-BED784677E90}" srcOrd="1" destOrd="0" presId="urn:microsoft.com/office/officeart/2005/8/layout/hierarchy6"/>
    <dgm:cxn modelId="{88C5F6CB-62AB-4D91-9426-666468CA0E0F}" type="presOf" srcId="{7C8AEDC3-014C-4961-945C-F635A541BE21}" destId="{78A7D40E-02E8-486D-B3CD-A273D4A75CB0}" srcOrd="0" destOrd="0" presId="urn:microsoft.com/office/officeart/2005/8/layout/hierarchy6"/>
    <dgm:cxn modelId="{4C8AEBF6-E637-4EF6-AD5B-F299999EAEA4}" srcId="{F45F1EA8-9680-437A-BE6B-3E5BD055DA41}" destId="{A8500810-9EE8-49EF-9AA5-344A75E210B5}" srcOrd="0" destOrd="0" parTransId="{563116AA-08B1-4676-97E1-625BD9D2512C}" sibTransId="{F5233B3E-CCBB-4909-AE8A-C26654693FA9}"/>
    <dgm:cxn modelId="{6D8327FC-FF4E-4A33-830B-3ADB7ECCA82F}" type="presOf" srcId="{60DAD31E-E446-41ED-8DAE-192D1B67D357}" destId="{100EB76B-CDFE-41EE-A7A2-296328D4BCD6}" srcOrd="0" destOrd="0" presId="urn:microsoft.com/office/officeart/2005/8/layout/hierarchy6"/>
    <dgm:cxn modelId="{2CB6A7FC-9334-4729-8F31-04F05CFB0C10}" type="presOf" srcId="{C2DC16F9-C6EC-480A-B686-BC25AD0E0940}" destId="{EDA7E8EE-D5C7-461C-8367-580082AAB01D}" srcOrd="0" destOrd="0" presId="urn:microsoft.com/office/officeart/2005/8/layout/hierarchy6"/>
    <dgm:cxn modelId="{742AB0FF-2214-4B2A-AE50-FC4A1A328495}" srcId="{F45F1EA8-9680-437A-BE6B-3E5BD055DA41}" destId="{A0685B2A-A6EE-4817-9F7E-8B3CB3D3F296}" srcOrd="2" destOrd="0" parTransId="{5807539C-3C7F-4069-A54B-E06BD60F236B}" sibTransId="{4214C0C2-9E2B-4FFB-B80C-6C78DA585CE0}"/>
    <dgm:cxn modelId="{1C26EAB1-D9A6-450D-9523-62994C88F97D}" type="presParOf" srcId="{EEC44ECE-8FDE-46BF-B68D-B5449B1D2F08}" destId="{B2DFB700-B75B-4020-9DE6-4D0252D4B179}" srcOrd="0" destOrd="0" presId="urn:microsoft.com/office/officeart/2005/8/layout/hierarchy6"/>
    <dgm:cxn modelId="{0DF73F21-D022-47B2-B149-B8587847013B}" type="presParOf" srcId="{B2DFB700-B75B-4020-9DE6-4D0252D4B179}" destId="{5887F630-8F8A-42CB-A9CD-0A1399F1F83C}" srcOrd="0" destOrd="0" presId="urn:microsoft.com/office/officeart/2005/8/layout/hierarchy6"/>
    <dgm:cxn modelId="{7221FDCF-706E-4010-A9EC-E3F58BAFE8E8}" type="presParOf" srcId="{B2DFB700-B75B-4020-9DE6-4D0252D4B179}" destId="{4123304E-ADDE-4C96-B4F5-2139CE420F6A}" srcOrd="1" destOrd="0" presId="urn:microsoft.com/office/officeart/2005/8/layout/hierarchy6"/>
    <dgm:cxn modelId="{84A950BF-0C91-4FD9-9986-A73B5C7CB631}" type="presParOf" srcId="{4123304E-ADDE-4C96-B4F5-2139CE420F6A}" destId="{BD3ACFCE-1A6C-454F-A290-159EE5DE3409}" srcOrd="0" destOrd="0" presId="urn:microsoft.com/office/officeart/2005/8/layout/hierarchy6"/>
    <dgm:cxn modelId="{D9C65366-B75E-44A8-981F-AD1BBC8E861F}" type="presParOf" srcId="{BD3ACFCE-1A6C-454F-A290-159EE5DE3409}" destId="{A0834E09-F94E-4A0B-A9B9-3540E594EA10}" srcOrd="0" destOrd="0" presId="urn:microsoft.com/office/officeart/2005/8/layout/hierarchy6"/>
    <dgm:cxn modelId="{243EAAD1-0866-4AD5-9405-E059A2BA6BD1}" type="presParOf" srcId="{BD3ACFCE-1A6C-454F-A290-159EE5DE3409}" destId="{C228B206-5930-4712-8FA5-62F2FCDE4B20}" srcOrd="1" destOrd="0" presId="urn:microsoft.com/office/officeart/2005/8/layout/hierarchy6"/>
    <dgm:cxn modelId="{5F97217C-42E3-45C5-9F0A-40FF6100A035}" type="presParOf" srcId="{C228B206-5930-4712-8FA5-62F2FCDE4B20}" destId="{45C0E22E-070B-413E-B4BE-73A740661682}" srcOrd="0" destOrd="0" presId="urn:microsoft.com/office/officeart/2005/8/layout/hierarchy6"/>
    <dgm:cxn modelId="{1FAE6AE6-4964-4D12-AC0F-967CED2077D3}" type="presParOf" srcId="{C228B206-5930-4712-8FA5-62F2FCDE4B20}" destId="{02CF7F1C-D0ED-4A09-8880-D9D8C9B4C6D8}" srcOrd="1" destOrd="0" presId="urn:microsoft.com/office/officeart/2005/8/layout/hierarchy6"/>
    <dgm:cxn modelId="{3F82CE27-4F39-4750-939B-1DEDE12B129B}" type="presParOf" srcId="{02CF7F1C-D0ED-4A09-8880-D9D8C9B4C6D8}" destId="{EDA7E8EE-D5C7-461C-8367-580082AAB01D}" srcOrd="0" destOrd="0" presId="urn:microsoft.com/office/officeart/2005/8/layout/hierarchy6"/>
    <dgm:cxn modelId="{8B294B83-3CEF-4A74-A5A4-C874B6B3C6D2}" type="presParOf" srcId="{02CF7F1C-D0ED-4A09-8880-D9D8C9B4C6D8}" destId="{8B6FA77D-A3E0-4FAB-9BE1-0B7F79A36F62}" srcOrd="1" destOrd="0" presId="urn:microsoft.com/office/officeart/2005/8/layout/hierarchy6"/>
    <dgm:cxn modelId="{2A520345-13EE-41D2-86C6-7F7470C0E604}" type="presParOf" srcId="{8B6FA77D-A3E0-4FAB-9BE1-0B7F79A36F62}" destId="{DFBB11B0-F92D-4C99-9AD7-598E4D51462A}" srcOrd="0" destOrd="0" presId="urn:microsoft.com/office/officeart/2005/8/layout/hierarchy6"/>
    <dgm:cxn modelId="{F2E9C357-372E-4EBD-9CCF-A1E698B2E701}" type="presParOf" srcId="{8B6FA77D-A3E0-4FAB-9BE1-0B7F79A36F62}" destId="{3EB831D3-7437-4EA8-9DC7-D0FD3DA8A511}" srcOrd="1" destOrd="0" presId="urn:microsoft.com/office/officeart/2005/8/layout/hierarchy6"/>
    <dgm:cxn modelId="{590EB7E4-D462-4CC7-BD8A-55223BEFABFD}" type="presParOf" srcId="{3EB831D3-7437-4EA8-9DC7-D0FD3DA8A511}" destId="{78A7D40E-02E8-486D-B3CD-A273D4A75CB0}" srcOrd="0" destOrd="0" presId="urn:microsoft.com/office/officeart/2005/8/layout/hierarchy6"/>
    <dgm:cxn modelId="{56817DD2-5834-40DE-AC5E-53A10AA07BAF}" type="presParOf" srcId="{3EB831D3-7437-4EA8-9DC7-D0FD3DA8A511}" destId="{82EFB24E-74E7-4E4B-B830-F9E84F0AD40A}" srcOrd="1" destOrd="0" presId="urn:microsoft.com/office/officeart/2005/8/layout/hierarchy6"/>
    <dgm:cxn modelId="{5F5EA4F6-491F-414A-9136-6C8E6538B9DD}" type="presParOf" srcId="{C228B206-5930-4712-8FA5-62F2FCDE4B20}" destId="{B480F158-E0B1-4D38-8C83-70B0AFBC669B}" srcOrd="2" destOrd="0" presId="urn:microsoft.com/office/officeart/2005/8/layout/hierarchy6"/>
    <dgm:cxn modelId="{9A3C77C2-613E-4C75-A5B5-724FAF026D98}" type="presParOf" srcId="{C228B206-5930-4712-8FA5-62F2FCDE4B20}" destId="{592412B3-0FE0-4930-800C-3C134195774D}" srcOrd="3" destOrd="0" presId="urn:microsoft.com/office/officeart/2005/8/layout/hierarchy6"/>
    <dgm:cxn modelId="{39C8E2B4-3F44-4A4A-A28A-63382AB1B7D1}" type="presParOf" srcId="{592412B3-0FE0-4930-800C-3C134195774D}" destId="{100EB76B-CDFE-41EE-A7A2-296328D4BCD6}" srcOrd="0" destOrd="0" presId="urn:microsoft.com/office/officeart/2005/8/layout/hierarchy6"/>
    <dgm:cxn modelId="{63FEDD0F-4483-473E-A1F9-DF9A20E6472D}" type="presParOf" srcId="{592412B3-0FE0-4930-800C-3C134195774D}" destId="{9177FD59-1EFF-4469-A50B-94774B847190}" srcOrd="1" destOrd="0" presId="urn:microsoft.com/office/officeart/2005/8/layout/hierarchy6"/>
    <dgm:cxn modelId="{514F5F30-8BEC-4CD4-B135-F1AB0F688D47}" type="presParOf" srcId="{9177FD59-1EFF-4469-A50B-94774B847190}" destId="{467385A6-D0D7-431A-99D3-AF86122EE20D}" srcOrd="0" destOrd="0" presId="urn:microsoft.com/office/officeart/2005/8/layout/hierarchy6"/>
    <dgm:cxn modelId="{4148D173-3BC7-4D56-B1E3-E100BB4D9B7D}" type="presParOf" srcId="{9177FD59-1EFF-4469-A50B-94774B847190}" destId="{DCB0EFAF-8B30-4D77-AA2F-DD06E43F7660}" srcOrd="1" destOrd="0" presId="urn:microsoft.com/office/officeart/2005/8/layout/hierarchy6"/>
    <dgm:cxn modelId="{71365056-D517-4B47-B118-85B6E9FD8835}" type="presParOf" srcId="{DCB0EFAF-8B30-4D77-AA2F-DD06E43F7660}" destId="{E35E7626-07BD-4A70-998E-9EBFAC04375E}" srcOrd="0" destOrd="0" presId="urn:microsoft.com/office/officeart/2005/8/layout/hierarchy6"/>
    <dgm:cxn modelId="{997F3EE2-051D-4870-90FE-461520D7ED4A}" type="presParOf" srcId="{DCB0EFAF-8B30-4D77-AA2F-DD06E43F7660}" destId="{BEDE0F7E-6249-4716-B2A1-F80AC27E4514}" srcOrd="1" destOrd="0" presId="urn:microsoft.com/office/officeart/2005/8/layout/hierarchy6"/>
    <dgm:cxn modelId="{CBD12FBB-9A85-4ACF-9634-6BF744A610C6}" type="presParOf" srcId="{EEC44ECE-8FDE-46BF-B68D-B5449B1D2F08}" destId="{C449178C-DF01-425E-802C-034F8B4B1EDA}" srcOrd="1" destOrd="0" presId="urn:microsoft.com/office/officeart/2005/8/layout/hierarchy6"/>
    <dgm:cxn modelId="{38672646-4D49-41B0-969A-38F2287EDEB5}" type="presParOf" srcId="{C449178C-DF01-425E-802C-034F8B4B1EDA}" destId="{457E34B3-51DC-4635-9F0B-78AFB321BB50}" srcOrd="0" destOrd="0" presId="urn:microsoft.com/office/officeart/2005/8/layout/hierarchy6"/>
    <dgm:cxn modelId="{94EB8288-FE0C-4F5B-ADDF-F9D366587A39}" type="presParOf" srcId="{457E34B3-51DC-4635-9F0B-78AFB321BB50}" destId="{9CC68027-AD3E-4C14-BBB5-64BDC8B6ADD5}" srcOrd="0" destOrd="0" presId="urn:microsoft.com/office/officeart/2005/8/layout/hierarchy6"/>
    <dgm:cxn modelId="{999CB571-0E31-46DF-ACFF-B62F1595CE93}" type="presParOf" srcId="{457E34B3-51DC-4635-9F0B-78AFB321BB50}" destId="{949DF0EB-3749-40CC-84CC-2F32917930F8}" srcOrd="1" destOrd="0" presId="urn:microsoft.com/office/officeart/2005/8/layout/hierarchy6"/>
    <dgm:cxn modelId="{E27AE372-4DEB-45A2-9A17-8C137CEDBC8C}" type="presParOf" srcId="{C449178C-DF01-425E-802C-034F8B4B1EDA}" destId="{4FDC3252-B561-4667-9FE6-346371AF3A9C}" srcOrd="1" destOrd="0" presId="urn:microsoft.com/office/officeart/2005/8/layout/hierarchy6"/>
    <dgm:cxn modelId="{09F907B5-213A-4255-9DB0-8F70AC543497}" type="presParOf" srcId="{4FDC3252-B561-4667-9FE6-346371AF3A9C}" destId="{1B944955-F001-421E-AF57-45062DD9D4EB}" srcOrd="0" destOrd="0" presId="urn:microsoft.com/office/officeart/2005/8/layout/hierarchy6"/>
    <dgm:cxn modelId="{7031B7AA-BC65-4709-BCC3-C51F58F2B659}" type="presParOf" srcId="{C449178C-DF01-425E-802C-034F8B4B1EDA}" destId="{7FBCAF02-FCF3-4EC0-B567-5B9E0FD04D09}" srcOrd="2" destOrd="0" presId="urn:microsoft.com/office/officeart/2005/8/layout/hierarchy6"/>
    <dgm:cxn modelId="{5B3CAEC3-E053-4B44-AB36-BA9A41A0F8BD}" type="presParOf" srcId="{7FBCAF02-FCF3-4EC0-B567-5B9E0FD04D09}" destId="{58E55AAA-DE08-4607-8F5B-A298F20DA1DD}" srcOrd="0" destOrd="0" presId="urn:microsoft.com/office/officeart/2005/8/layout/hierarchy6"/>
    <dgm:cxn modelId="{6B5D3A7B-384A-4F9B-B884-217D80A93D46}" type="presParOf" srcId="{7FBCAF02-FCF3-4EC0-B567-5B9E0FD04D09}" destId="{2CE8E76B-7525-471E-BFB7-BED784677E90}" srcOrd="1" destOrd="0" presId="urn:microsoft.com/office/officeart/2005/8/layout/hierarchy6"/>
    <dgm:cxn modelId="{E348248E-2D92-454B-86F0-E1E4DC2E6BB5}" type="presParOf" srcId="{C449178C-DF01-425E-802C-034F8B4B1EDA}" destId="{70AD92CC-7523-4F1B-87E1-90BA8649894F}" srcOrd="3" destOrd="0" presId="urn:microsoft.com/office/officeart/2005/8/layout/hierarchy6"/>
    <dgm:cxn modelId="{5F458E7F-70DF-41C6-8E82-1F13DB8709D5}" type="presParOf" srcId="{70AD92CC-7523-4F1B-87E1-90BA8649894F}" destId="{12CE4879-7062-48D9-B0FF-31899C3BF317}" srcOrd="0" destOrd="0" presId="urn:microsoft.com/office/officeart/2005/8/layout/hierarchy6"/>
    <dgm:cxn modelId="{78BE7544-A3B1-424D-990E-231615E34B85}" type="presParOf" srcId="{C449178C-DF01-425E-802C-034F8B4B1EDA}" destId="{072FAC22-63EB-40A9-84E3-40B3CB809933}" srcOrd="4" destOrd="0" presId="urn:microsoft.com/office/officeart/2005/8/layout/hierarchy6"/>
    <dgm:cxn modelId="{E833EBA0-9C92-4156-9A41-475A20CEE2BA}" type="presParOf" srcId="{072FAC22-63EB-40A9-84E3-40B3CB809933}" destId="{889D6E4C-FA87-4C38-B0E2-EC17F927D833}" srcOrd="0" destOrd="0" presId="urn:microsoft.com/office/officeart/2005/8/layout/hierarchy6"/>
    <dgm:cxn modelId="{E6A286D4-7E6A-4A7E-8E1F-A7FA5C3193C1}" type="presParOf" srcId="{072FAC22-63EB-40A9-84E3-40B3CB809933}" destId="{D3C8D2B9-864A-409B-A4A0-20D1FF4F5E5F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0F80B82D-48ED-4144-9381-A8DEB5E3F2E1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452652C2-9210-4BCE-9755-D06E3734271B}">
      <dgm:prSet phldrT="[文字]" custT="1"/>
      <dgm:spPr>
        <a:solidFill>
          <a:srgbClr val="FF6600"/>
        </a:solidFill>
      </dgm:spPr>
      <dgm:t>
        <a:bodyPr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zh-TW" altLang="en-US" sz="1600" b="1" dirty="0">
              <a:latin typeface="微軟正黑體" pitchFamily="34" charset="-120"/>
              <a:ea typeface="微軟正黑體" pitchFamily="34" charset="-120"/>
            </a:rPr>
            <a:t>基本理念</a:t>
          </a:r>
          <a:endParaRPr lang="en-US" altLang="zh-TW" sz="1600" b="1" dirty="0">
            <a:latin typeface="微軟正黑體" pitchFamily="34" charset="-120"/>
            <a:ea typeface="微軟正黑體" pitchFamily="34" charset="-12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zh-TW" altLang="en-US" sz="1600" b="1" dirty="0">
              <a:latin typeface="微軟正黑體" pitchFamily="34" charset="-120"/>
              <a:ea typeface="微軟正黑體" pitchFamily="34" charset="-120"/>
            </a:rPr>
            <a:t>課程目標</a:t>
          </a:r>
        </a:p>
      </dgm:t>
    </dgm:pt>
    <dgm:pt modelId="{D21B2318-F683-417D-B8B9-9C5FEE0ABCDF}" type="parTrans" cxnId="{44C095A8-5789-428F-AFC6-867C636DE076}">
      <dgm:prSet/>
      <dgm:spPr/>
      <dgm:t>
        <a:bodyPr/>
        <a:lstStyle/>
        <a:p>
          <a:endParaRPr lang="zh-TW" altLang="en-US"/>
        </a:p>
      </dgm:t>
    </dgm:pt>
    <dgm:pt modelId="{80DBBAA0-2045-44DD-9DC1-B7067C9983B6}" type="sibTrans" cxnId="{44C095A8-5789-428F-AFC6-867C636DE076}">
      <dgm:prSet/>
      <dgm:spPr/>
      <dgm:t>
        <a:bodyPr/>
        <a:lstStyle/>
        <a:p>
          <a:endParaRPr lang="zh-TW" altLang="en-US"/>
        </a:p>
      </dgm:t>
    </dgm:pt>
    <dgm:pt modelId="{98A231E0-9167-497C-82DB-2C805F46B592}">
      <dgm:prSet phldrT="[文字]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zh-TW" altLang="en-US" b="1" dirty="0">
              <a:latin typeface="微軟正黑體" pitchFamily="34" charset="-120"/>
              <a:ea typeface="微軟正黑體" pitchFamily="34" charset="-120"/>
            </a:rPr>
            <a:t>時間分配與科目組合</a:t>
          </a:r>
        </a:p>
      </dgm:t>
    </dgm:pt>
    <dgm:pt modelId="{18C30471-3F6C-4591-A83F-66FD89B165BE}" type="parTrans" cxnId="{C6918577-289E-4911-9155-70D780AF3D1A}">
      <dgm:prSet/>
      <dgm:spPr/>
      <dgm:t>
        <a:bodyPr/>
        <a:lstStyle/>
        <a:p>
          <a:endParaRPr lang="zh-TW" altLang="en-US"/>
        </a:p>
      </dgm:t>
    </dgm:pt>
    <dgm:pt modelId="{64E87AAE-C5FB-40FB-8616-090FDBEC069B}" type="sibTrans" cxnId="{C6918577-289E-4911-9155-70D780AF3D1A}">
      <dgm:prSet/>
      <dgm:spPr/>
      <dgm:t>
        <a:bodyPr/>
        <a:lstStyle/>
        <a:p>
          <a:endParaRPr lang="zh-TW" altLang="en-US"/>
        </a:p>
      </dgm:t>
    </dgm:pt>
    <dgm:pt modelId="{E7812711-0712-4367-BED1-03B54DE10473}">
      <dgm:prSet phldrT="[文字]" custT="1"/>
      <dgm:spPr>
        <a:solidFill>
          <a:srgbClr val="FF6600"/>
        </a:solidFill>
      </dgm:spPr>
      <dgm:t>
        <a:bodyPr/>
        <a:lstStyle/>
        <a:p>
          <a:r>
            <a:rPr lang="zh-TW" altLang="en-US" sz="2000" b="1" dirty="0">
              <a:latin typeface="微軟正黑體" pitchFamily="34" charset="-120"/>
              <a:ea typeface="微軟正黑體" pitchFamily="34" charset="-120"/>
            </a:rPr>
            <a:t>核心素養</a:t>
          </a:r>
        </a:p>
      </dgm:t>
    </dgm:pt>
    <dgm:pt modelId="{099C87A8-6A05-457D-B1DB-CCF407CA4B2D}" type="parTrans" cxnId="{4A5F78E7-9219-4F34-A770-1B9649B5CF43}">
      <dgm:prSet/>
      <dgm:spPr/>
      <dgm:t>
        <a:bodyPr/>
        <a:lstStyle/>
        <a:p>
          <a:endParaRPr lang="zh-TW" altLang="en-US"/>
        </a:p>
      </dgm:t>
    </dgm:pt>
    <dgm:pt modelId="{390F1C34-88E6-432C-AD34-6BD31A864625}" type="sibTrans" cxnId="{4A5F78E7-9219-4F34-A770-1B9649B5CF43}">
      <dgm:prSet/>
      <dgm:spPr/>
      <dgm:t>
        <a:bodyPr/>
        <a:lstStyle/>
        <a:p>
          <a:endParaRPr lang="zh-TW" altLang="en-US"/>
        </a:p>
      </dgm:t>
    </dgm:pt>
    <dgm:pt modelId="{125A98F4-CD38-4B51-9FEC-DD79F58F5FA3}">
      <dgm:prSet phldrT="[文字]" custT="1"/>
      <dgm:spPr>
        <a:solidFill>
          <a:srgbClr val="002060"/>
        </a:solidFill>
      </dgm:spPr>
      <dgm:t>
        <a:bodyPr/>
        <a:lstStyle/>
        <a:p>
          <a:r>
            <a:rPr lang="zh-TW" altLang="en-US" sz="2000" b="1" dirty="0">
              <a:latin typeface="微軟正黑體" pitchFamily="34" charset="-120"/>
              <a:ea typeface="微軟正黑體" pitchFamily="34" charset="-120"/>
            </a:rPr>
            <a:t>學習重點</a:t>
          </a:r>
        </a:p>
      </dgm:t>
    </dgm:pt>
    <dgm:pt modelId="{8F88BF2C-AE2E-4B0D-A9AE-1FA934B04823}" type="parTrans" cxnId="{D35F08E2-29F2-4032-A6B3-384C9D1D3685}">
      <dgm:prSet/>
      <dgm:spPr/>
      <dgm:t>
        <a:bodyPr/>
        <a:lstStyle/>
        <a:p>
          <a:endParaRPr lang="zh-TW" altLang="en-US"/>
        </a:p>
      </dgm:t>
    </dgm:pt>
    <dgm:pt modelId="{61D86356-F609-4F00-B17A-753E6F9B84BC}" type="sibTrans" cxnId="{D35F08E2-29F2-4032-A6B3-384C9D1D3685}">
      <dgm:prSet/>
      <dgm:spPr/>
      <dgm:t>
        <a:bodyPr/>
        <a:lstStyle/>
        <a:p>
          <a:endParaRPr lang="zh-TW" altLang="en-US"/>
        </a:p>
      </dgm:t>
    </dgm:pt>
    <dgm:pt modelId="{C93587F4-5374-426B-B0B9-793A95F26BFE}">
      <dgm:prSet phldrT="[文字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zh-TW" altLang="en-US" sz="2000" b="1" dirty="0">
              <a:latin typeface="微軟正黑體" pitchFamily="34" charset="-120"/>
              <a:ea typeface="微軟正黑體" pitchFamily="34" charset="-120"/>
            </a:rPr>
            <a:t>附錄</a:t>
          </a:r>
        </a:p>
      </dgm:t>
    </dgm:pt>
    <dgm:pt modelId="{A62B0080-B7AE-4FD6-B281-D57BA0F719F5}" type="parTrans" cxnId="{25BDE848-8C52-44C9-A16E-02906B65ECE6}">
      <dgm:prSet/>
      <dgm:spPr/>
      <dgm:t>
        <a:bodyPr/>
        <a:lstStyle/>
        <a:p>
          <a:endParaRPr lang="zh-TW" altLang="en-US"/>
        </a:p>
      </dgm:t>
    </dgm:pt>
    <dgm:pt modelId="{2218C362-DD36-4D9F-92F1-2B017F5EFC99}" type="sibTrans" cxnId="{25BDE848-8C52-44C9-A16E-02906B65ECE6}">
      <dgm:prSet/>
      <dgm:spPr/>
      <dgm:t>
        <a:bodyPr/>
        <a:lstStyle/>
        <a:p>
          <a:endParaRPr lang="zh-TW" altLang="en-US"/>
        </a:p>
      </dgm:t>
    </dgm:pt>
    <dgm:pt modelId="{F123F8C1-9E6C-4752-8C95-B1C4DA565B56}">
      <dgm:prSet phldrT="[文字]" custT="1"/>
      <dgm:spPr>
        <a:solidFill>
          <a:schemeClr val="tx2">
            <a:lumMod val="60000"/>
            <a:lumOff val="40000"/>
          </a:schemeClr>
        </a:solidFill>
      </dgm:spPr>
      <dgm:t>
        <a:bodyPr/>
        <a:lstStyle/>
        <a:p>
          <a:r>
            <a:rPr lang="zh-TW" altLang="en-US" sz="2000" b="1" dirty="0">
              <a:latin typeface="微軟正黑體" pitchFamily="34" charset="-120"/>
              <a:ea typeface="微軟正黑體" pitchFamily="34" charset="-120"/>
            </a:rPr>
            <a:t>實施要點</a:t>
          </a:r>
        </a:p>
      </dgm:t>
    </dgm:pt>
    <dgm:pt modelId="{3BCAA47E-2A3D-4DD5-ADB6-CFA812932380}" type="parTrans" cxnId="{8CBFE6DE-76BB-4CEB-BAA2-61A585581BDB}">
      <dgm:prSet/>
      <dgm:spPr/>
      <dgm:t>
        <a:bodyPr/>
        <a:lstStyle/>
        <a:p>
          <a:endParaRPr lang="zh-TW" altLang="en-US"/>
        </a:p>
      </dgm:t>
    </dgm:pt>
    <dgm:pt modelId="{41981D5E-89EC-46AE-BD35-A394A40DC546}" type="sibTrans" cxnId="{8CBFE6DE-76BB-4CEB-BAA2-61A585581BDB}">
      <dgm:prSet/>
      <dgm:spPr/>
      <dgm:t>
        <a:bodyPr/>
        <a:lstStyle/>
        <a:p>
          <a:endParaRPr lang="zh-TW" altLang="en-US"/>
        </a:p>
      </dgm:t>
    </dgm:pt>
    <dgm:pt modelId="{854D0C88-7A44-46A9-BD97-9012B6FC64FE}" type="pres">
      <dgm:prSet presAssocID="{0F80B82D-48ED-4144-9381-A8DEB5E3F2E1}" presName="Name0" presStyleCnt="0">
        <dgm:presLayoutVars>
          <dgm:dir/>
          <dgm:resizeHandles val="exact"/>
        </dgm:presLayoutVars>
      </dgm:prSet>
      <dgm:spPr/>
    </dgm:pt>
    <dgm:pt modelId="{FEF7902B-43A1-4A09-AE9F-20FF96F5004D}" type="pres">
      <dgm:prSet presAssocID="{452652C2-9210-4BCE-9755-D06E3734271B}" presName="parTxOnly" presStyleLbl="node1" presStyleIdx="0" presStyleCnt="6" custScaleX="79072" custLinFactY="-7536" custLinFactNeighborX="-305" custLinFactNeighborY="-100000">
        <dgm:presLayoutVars>
          <dgm:bulletEnabled val="1"/>
        </dgm:presLayoutVars>
      </dgm:prSet>
      <dgm:spPr/>
    </dgm:pt>
    <dgm:pt modelId="{FC1A9833-57BC-4F76-9575-A437BDE4E974}" type="pres">
      <dgm:prSet presAssocID="{80DBBAA0-2045-44DD-9DC1-B7067C9983B6}" presName="parSpace" presStyleCnt="0"/>
      <dgm:spPr/>
    </dgm:pt>
    <dgm:pt modelId="{2987773D-40D6-47C5-9E21-993A5EA0A1C0}" type="pres">
      <dgm:prSet presAssocID="{98A231E0-9167-497C-82DB-2C805F46B592}" presName="parTxOnly" presStyleLbl="node1" presStyleIdx="1" presStyleCnt="6">
        <dgm:presLayoutVars>
          <dgm:bulletEnabled val="1"/>
        </dgm:presLayoutVars>
      </dgm:prSet>
      <dgm:spPr/>
    </dgm:pt>
    <dgm:pt modelId="{3E9AA198-7138-433F-89D6-6FC718C54098}" type="pres">
      <dgm:prSet presAssocID="{64E87AAE-C5FB-40FB-8616-090FDBEC069B}" presName="parSpace" presStyleCnt="0"/>
      <dgm:spPr/>
    </dgm:pt>
    <dgm:pt modelId="{6986A153-FD85-4AD8-9FAA-56C2F026FB3A}" type="pres">
      <dgm:prSet presAssocID="{E7812711-0712-4367-BED1-03B54DE10473}" presName="parTxOnly" presStyleLbl="node1" presStyleIdx="2" presStyleCnt="6" custScaleX="102897" custLinFactY="-7536" custLinFactNeighborX="-28768" custLinFactNeighborY="-100000">
        <dgm:presLayoutVars>
          <dgm:bulletEnabled val="1"/>
        </dgm:presLayoutVars>
      </dgm:prSet>
      <dgm:spPr/>
    </dgm:pt>
    <dgm:pt modelId="{47DAB279-7BB6-4291-A7A9-783DB043B8B2}" type="pres">
      <dgm:prSet presAssocID="{390F1C34-88E6-432C-AD34-6BD31A864625}" presName="parSpace" presStyleCnt="0"/>
      <dgm:spPr/>
    </dgm:pt>
    <dgm:pt modelId="{384BEAAA-FABD-457B-A04A-1DDC580ABBDB}" type="pres">
      <dgm:prSet presAssocID="{125A98F4-CD38-4B51-9FEC-DD79F58F5FA3}" presName="parTxOnly" presStyleLbl="node1" presStyleIdx="3" presStyleCnt="6" custScaleX="113560">
        <dgm:presLayoutVars>
          <dgm:bulletEnabled val="1"/>
        </dgm:presLayoutVars>
      </dgm:prSet>
      <dgm:spPr/>
    </dgm:pt>
    <dgm:pt modelId="{DF404F35-4B52-4B73-B736-89EF82641DFC}" type="pres">
      <dgm:prSet presAssocID="{61D86356-F609-4F00-B17A-753E6F9B84BC}" presName="parSpace" presStyleCnt="0"/>
      <dgm:spPr/>
    </dgm:pt>
    <dgm:pt modelId="{B4AFAA56-882D-4ECF-9346-6770D3FA1A58}" type="pres">
      <dgm:prSet presAssocID="{F123F8C1-9E6C-4752-8C95-B1C4DA565B56}" presName="parTxOnly" presStyleLbl="node1" presStyleIdx="4" presStyleCnt="6">
        <dgm:presLayoutVars>
          <dgm:bulletEnabled val="1"/>
        </dgm:presLayoutVars>
      </dgm:prSet>
      <dgm:spPr/>
    </dgm:pt>
    <dgm:pt modelId="{008BB645-FD96-4EED-B560-AB75CDE82712}" type="pres">
      <dgm:prSet presAssocID="{41981D5E-89EC-46AE-BD35-A394A40DC546}" presName="parSpace" presStyleCnt="0"/>
      <dgm:spPr/>
    </dgm:pt>
    <dgm:pt modelId="{ADC846DB-B548-4A6B-8073-EF8FFC11473B}" type="pres">
      <dgm:prSet presAssocID="{C93587F4-5374-426B-B0B9-793A95F26BFE}" presName="parTxOnly" presStyleLbl="node1" presStyleIdx="5" presStyleCnt="6" custScaleX="74367">
        <dgm:presLayoutVars>
          <dgm:bulletEnabled val="1"/>
        </dgm:presLayoutVars>
      </dgm:prSet>
      <dgm:spPr/>
    </dgm:pt>
  </dgm:ptLst>
  <dgm:cxnLst>
    <dgm:cxn modelId="{BEC5341D-2965-4367-89AD-B3123AC375A1}" type="presOf" srcId="{E7812711-0712-4367-BED1-03B54DE10473}" destId="{6986A153-FD85-4AD8-9FAA-56C2F026FB3A}" srcOrd="0" destOrd="0" presId="urn:microsoft.com/office/officeart/2005/8/layout/hChevron3"/>
    <dgm:cxn modelId="{B81DDF33-1D93-45FF-B4E6-28A0841BA98B}" type="presOf" srcId="{C93587F4-5374-426B-B0B9-793A95F26BFE}" destId="{ADC846DB-B548-4A6B-8073-EF8FFC11473B}" srcOrd="0" destOrd="0" presId="urn:microsoft.com/office/officeart/2005/8/layout/hChevron3"/>
    <dgm:cxn modelId="{E23D2648-1EC4-47C4-AF29-8B742A4E488A}" type="presOf" srcId="{F123F8C1-9E6C-4752-8C95-B1C4DA565B56}" destId="{B4AFAA56-882D-4ECF-9346-6770D3FA1A58}" srcOrd="0" destOrd="0" presId="urn:microsoft.com/office/officeart/2005/8/layout/hChevron3"/>
    <dgm:cxn modelId="{25BDE848-8C52-44C9-A16E-02906B65ECE6}" srcId="{0F80B82D-48ED-4144-9381-A8DEB5E3F2E1}" destId="{C93587F4-5374-426B-B0B9-793A95F26BFE}" srcOrd="5" destOrd="0" parTransId="{A62B0080-B7AE-4FD6-B281-D57BA0F719F5}" sibTransId="{2218C362-DD36-4D9F-92F1-2B017F5EFC99}"/>
    <dgm:cxn modelId="{40D3B472-20E6-42AF-B1B0-9567235AC8B6}" type="presOf" srcId="{98A231E0-9167-497C-82DB-2C805F46B592}" destId="{2987773D-40D6-47C5-9E21-993A5EA0A1C0}" srcOrd="0" destOrd="0" presId="urn:microsoft.com/office/officeart/2005/8/layout/hChevron3"/>
    <dgm:cxn modelId="{C6918577-289E-4911-9155-70D780AF3D1A}" srcId="{0F80B82D-48ED-4144-9381-A8DEB5E3F2E1}" destId="{98A231E0-9167-497C-82DB-2C805F46B592}" srcOrd="1" destOrd="0" parTransId="{18C30471-3F6C-4591-A83F-66FD89B165BE}" sibTransId="{64E87AAE-C5FB-40FB-8616-090FDBEC069B}"/>
    <dgm:cxn modelId="{7B4B2699-1CA8-4A3C-AEC5-8C87EC437D36}" type="presOf" srcId="{125A98F4-CD38-4B51-9FEC-DD79F58F5FA3}" destId="{384BEAAA-FABD-457B-A04A-1DDC580ABBDB}" srcOrd="0" destOrd="0" presId="urn:microsoft.com/office/officeart/2005/8/layout/hChevron3"/>
    <dgm:cxn modelId="{98589B99-3382-432E-83E1-6ACDC10D47D7}" type="presOf" srcId="{0F80B82D-48ED-4144-9381-A8DEB5E3F2E1}" destId="{854D0C88-7A44-46A9-BD97-9012B6FC64FE}" srcOrd="0" destOrd="0" presId="urn:microsoft.com/office/officeart/2005/8/layout/hChevron3"/>
    <dgm:cxn modelId="{44C095A8-5789-428F-AFC6-867C636DE076}" srcId="{0F80B82D-48ED-4144-9381-A8DEB5E3F2E1}" destId="{452652C2-9210-4BCE-9755-D06E3734271B}" srcOrd="0" destOrd="0" parTransId="{D21B2318-F683-417D-B8B9-9C5FEE0ABCDF}" sibTransId="{80DBBAA0-2045-44DD-9DC1-B7067C9983B6}"/>
    <dgm:cxn modelId="{8CBFE6DE-76BB-4CEB-BAA2-61A585581BDB}" srcId="{0F80B82D-48ED-4144-9381-A8DEB5E3F2E1}" destId="{F123F8C1-9E6C-4752-8C95-B1C4DA565B56}" srcOrd="4" destOrd="0" parTransId="{3BCAA47E-2A3D-4DD5-ADB6-CFA812932380}" sibTransId="{41981D5E-89EC-46AE-BD35-A394A40DC546}"/>
    <dgm:cxn modelId="{6521D2DF-E538-4567-ABF7-22DBE4095E7F}" type="presOf" srcId="{452652C2-9210-4BCE-9755-D06E3734271B}" destId="{FEF7902B-43A1-4A09-AE9F-20FF96F5004D}" srcOrd="0" destOrd="0" presId="urn:microsoft.com/office/officeart/2005/8/layout/hChevron3"/>
    <dgm:cxn modelId="{D35F08E2-29F2-4032-A6B3-384C9D1D3685}" srcId="{0F80B82D-48ED-4144-9381-A8DEB5E3F2E1}" destId="{125A98F4-CD38-4B51-9FEC-DD79F58F5FA3}" srcOrd="3" destOrd="0" parTransId="{8F88BF2C-AE2E-4B0D-A9AE-1FA934B04823}" sibTransId="{61D86356-F609-4F00-B17A-753E6F9B84BC}"/>
    <dgm:cxn modelId="{4A5F78E7-9219-4F34-A770-1B9649B5CF43}" srcId="{0F80B82D-48ED-4144-9381-A8DEB5E3F2E1}" destId="{E7812711-0712-4367-BED1-03B54DE10473}" srcOrd="2" destOrd="0" parTransId="{099C87A8-6A05-457D-B1DB-CCF407CA4B2D}" sibTransId="{390F1C34-88E6-432C-AD34-6BD31A864625}"/>
    <dgm:cxn modelId="{F519B8FE-86B7-465D-8272-91093E71B495}" type="presParOf" srcId="{854D0C88-7A44-46A9-BD97-9012B6FC64FE}" destId="{FEF7902B-43A1-4A09-AE9F-20FF96F5004D}" srcOrd="0" destOrd="0" presId="urn:microsoft.com/office/officeart/2005/8/layout/hChevron3"/>
    <dgm:cxn modelId="{D7093C00-C43D-4609-B9C3-6C9D81C374E8}" type="presParOf" srcId="{854D0C88-7A44-46A9-BD97-9012B6FC64FE}" destId="{FC1A9833-57BC-4F76-9575-A437BDE4E974}" srcOrd="1" destOrd="0" presId="urn:microsoft.com/office/officeart/2005/8/layout/hChevron3"/>
    <dgm:cxn modelId="{0C906E75-4A08-4398-BBDB-654D5115609C}" type="presParOf" srcId="{854D0C88-7A44-46A9-BD97-9012B6FC64FE}" destId="{2987773D-40D6-47C5-9E21-993A5EA0A1C0}" srcOrd="2" destOrd="0" presId="urn:microsoft.com/office/officeart/2005/8/layout/hChevron3"/>
    <dgm:cxn modelId="{C4BE745F-8E5B-4A96-A009-AF668C23F0F9}" type="presParOf" srcId="{854D0C88-7A44-46A9-BD97-9012B6FC64FE}" destId="{3E9AA198-7138-433F-89D6-6FC718C54098}" srcOrd="3" destOrd="0" presId="urn:microsoft.com/office/officeart/2005/8/layout/hChevron3"/>
    <dgm:cxn modelId="{55000B05-B354-4764-BA39-4B19A71775E7}" type="presParOf" srcId="{854D0C88-7A44-46A9-BD97-9012B6FC64FE}" destId="{6986A153-FD85-4AD8-9FAA-56C2F026FB3A}" srcOrd="4" destOrd="0" presId="urn:microsoft.com/office/officeart/2005/8/layout/hChevron3"/>
    <dgm:cxn modelId="{FB5561D6-521D-48B1-8BC1-5BF01E87ABCC}" type="presParOf" srcId="{854D0C88-7A44-46A9-BD97-9012B6FC64FE}" destId="{47DAB279-7BB6-4291-A7A9-783DB043B8B2}" srcOrd="5" destOrd="0" presId="urn:microsoft.com/office/officeart/2005/8/layout/hChevron3"/>
    <dgm:cxn modelId="{63A8E7C6-BFED-49B1-ABC6-CC0CC1673184}" type="presParOf" srcId="{854D0C88-7A44-46A9-BD97-9012B6FC64FE}" destId="{384BEAAA-FABD-457B-A04A-1DDC580ABBDB}" srcOrd="6" destOrd="0" presId="urn:microsoft.com/office/officeart/2005/8/layout/hChevron3"/>
    <dgm:cxn modelId="{F3D6F0B1-EA88-4615-9F96-1101D7434F83}" type="presParOf" srcId="{854D0C88-7A44-46A9-BD97-9012B6FC64FE}" destId="{DF404F35-4B52-4B73-B736-89EF82641DFC}" srcOrd="7" destOrd="0" presId="urn:microsoft.com/office/officeart/2005/8/layout/hChevron3"/>
    <dgm:cxn modelId="{6B40C199-3F22-4B46-BD2D-A9A77C4F240E}" type="presParOf" srcId="{854D0C88-7A44-46A9-BD97-9012B6FC64FE}" destId="{B4AFAA56-882D-4ECF-9346-6770D3FA1A58}" srcOrd="8" destOrd="0" presId="urn:microsoft.com/office/officeart/2005/8/layout/hChevron3"/>
    <dgm:cxn modelId="{B7A628AD-36E1-4F3D-BE9E-D004DDBE23AD}" type="presParOf" srcId="{854D0C88-7A44-46A9-BD97-9012B6FC64FE}" destId="{008BB645-FD96-4EED-B560-AB75CDE82712}" srcOrd="9" destOrd="0" presId="urn:microsoft.com/office/officeart/2005/8/layout/hChevron3"/>
    <dgm:cxn modelId="{DD64B311-2040-4EED-B4F0-2A1AA3AFAFF3}" type="presParOf" srcId="{854D0C88-7A44-46A9-BD97-9012B6FC64FE}" destId="{ADC846DB-B548-4A6B-8073-EF8FFC11473B}" srcOrd="10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14F76185-7AB5-46E9-9C8A-62CF2C136D02}" type="doc">
      <dgm:prSet loTypeId="urn:microsoft.com/office/officeart/2005/8/layout/vList6" loCatId="process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zh-TW" altLang="en-US"/>
        </a:p>
      </dgm:t>
    </dgm:pt>
    <dgm:pt modelId="{571B79F9-22CE-4BCF-B3E4-DCCB2711C635}">
      <dgm:prSet phldrT="[文字]" custT="1"/>
      <dgm:spPr>
        <a:solidFill>
          <a:schemeClr val="tx2">
            <a:lumMod val="50000"/>
          </a:schemeClr>
        </a:solidFill>
      </dgm:spPr>
      <dgm:t>
        <a:bodyPr/>
        <a:lstStyle/>
        <a:p>
          <a:r>
            <a:rPr lang="zh-TW" altLang="en-US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rPr>
            <a:t>展望未來</a:t>
          </a:r>
        </a:p>
      </dgm:t>
    </dgm:pt>
    <dgm:pt modelId="{4A01C014-C3A2-472B-99E6-D371E3EB5574}" type="parTrans" cxnId="{6BAE399C-2893-4867-9359-D9EC56FDCF57}">
      <dgm:prSet/>
      <dgm:spPr/>
      <dgm:t>
        <a:bodyPr/>
        <a:lstStyle/>
        <a:p>
          <a:endParaRPr lang="zh-TW" altLang="en-US"/>
        </a:p>
      </dgm:t>
    </dgm:pt>
    <dgm:pt modelId="{F5D3DACD-AE43-4FED-96DD-8063C808400A}" type="sibTrans" cxnId="{6BAE399C-2893-4867-9359-D9EC56FDCF57}">
      <dgm:prSet/>
      <dgm:spPr/>
      <dgm:t>
        <a:bodyPr/>
        <a:lstStyle/>
        <a:p>
          <a:endParaRPr lang="zh-TW" altLang="en-US"/>
        </a:p>
      </dgm:t>
    </dgm:pt>
    <dgm:pt modelId="{8A571F04-E3CD-45AE-91FB-F1C5555C344D}">
      <dgm:prSet custT="1"/>
      <dgm:spPr>
        <a:noFill/>
        <a:ln w="38100">
          <a:solidFill>
            <a:srgbClr val="FF9900">
              <a:alpha val="90000"/>
            </a:srgbClr>
          </a:solidFill>
        </a:ln>
      </dgm:spPr>
      <dgm:t>
        <a:bodyPr anchor="ctr" anchorCtr="0"/>
        <a:lstStyle/>
        <a:p>
          <a:pPr>
            <a:lnSpc>
              <a:spcPct val="100000"/>
            </a:lnSpc>
          </a:pPr>
          <a:r>
            <a:rPr lang="zh-TW" altLang="en-US" sz="2000" dirty="0">
              <a:latin typeface="微軟正黑體" panose="020B0604030504040204" pitchFamily="34" charset="-120"/>
              <a:ea typeface="微軟正黑體" panose="020B0604030504040204" pitchFamily="34" charset="-120"/>
            </a:rPr>
            <a:t>     連結國中小及高中的學習經驗。</a:t>
          </a:r>
        </a:p>
      </dgm:t>
    </dgm:pt>
    <dgm:pt modelId="{17DFFEA9-2F7A-4704-881D-CCE3964F01B0}" type="parTrans" cxnId="{24C79FF2-AFEF-466F-A994-97C51BCDF350}">
      <dgm:prSet/>
      <dgm:spPr/>
      <dgm:t>
        <a:bodyPr/>
        <a:lstStyle/>
        <a:p>
          <a:endParaRPr lang="zh-TW" altLang="en-US"/>
        </a:p>
      </dgm:t>
    </dgm:pt>
    <dgm:pt modelId="{2FEEF821-3444-4BFC-A44F-2E25EDFAA5B5}" type="sibTrans" cxnId="{24C79FF2-AFEF-466F-A994-97C51BCDF350}">
      <dgm:prSet/>
      <dgm:spPr/>
      <dgm:t>
        <a:bodyPr/>
        <a:lstStyle/>
        <a:p>
          <a:endParaRPr lang="zh-TW" altLang="en-US"/>
        </a:p>
      </dgm:t>
    </dgm:pt>
    <dgm:pt modelId="{6444BB72-3AB7-4C7B-839B-FB12307A7000}">
      <dgm:prSet custT="1"/>
      <dgm:spPr>
        <a:noFill/>
        <a:ln w="38100">
          <a:solidFill>
            <a:srgbClr val="0070C0">
              <a:alpha val="90000"/>
            </a:srgbClr>
          </a:solidFill>
        </a:ln>
      </dgm:spPr>
      <dgm:t>
        <a:bodyPr anchor="ctr" anchorCtr="0"/>
        <a:lstStyle/>
        <a:p>
          <a:pPr marL="539750" indent="-539750"/>
          <a:r>
            <a:rPr lang="zh-TW" altLang="en-US" sz="2000" dirty="0">
              <a:latin typeface="微軟正黑體" panose="020B0604030504040204" pitchFamily="34" charset="-120"/>
              <a:ea typeface="微軟正黑體" panose="020B0604030504040204" pitchFamily="34" charset="-120"/>
            </a:rPr>
            <a:t>涵育公民素養，強調探究、參與、實踐、反思及創新。</a:t>
          </a:r>
        </a:p>
      </dgm:t>
    </dgm:pt>
    <dgm:pt modelId="{2631AF48-913F-4C73-9888-B548BF841679}" type="parTrans" cxnId="{B82DD7FB-D075-46BA-A93F-8BC89C8167C6}">
      <dgm:prSet/>
      <dgm:spPr/>
      <dgm:t>
        <a:bodyPr/>
        <a:lstStyle/>
        <a:p>
          <a:endParaRPr lang="zh-TW" altLang="en-US"/>
        </a:p>
      </dgm:t>
    </dgm:pt>
    <dgm:pt modelId="{34201A53-70D6-449D-A32D-34DDD30CC54F}" type="sibTrans" cxnId="{B82DD7FB-D075-46BA-A93F-8BC89C8167C6}">
      <dgm:prSet/>
      <dgm:spPr/>
      <dgm:t>
        <a:bodyPr/>
        <a:lstStyle/>
        <a:p>
          <a:endParaRPr lang="zh-TW" altLang="en-US"/>
        </a:p>
      </dgm:t>
    </dgm:pt>
    <dgm:pt modelId="{565FAF34-BF8C-481F-9B4E-D4D673EE154C}">
      <dgm:prSet phldrT="[文字]" custT="1"/>
      <dgm:spPr>
        <a:solidFill>
          <a:schemeClr val="accent2">
            <a:lumMod val="50000"/>
          </a:schemeClr>
        </a:solidFill>
      </dgm:spPr>
      <dgm:t>
        <a:bodyPr/>
        <a:lstStyle/>
        <a:p>
          <a:r>
            <a:rPr lang="zh-TW" altLang="en-US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rPr>
            <a:t>立基現在</a:t>
          </a:r>
        </a:p>
      </dgm:t>
    </dgm:pt>
    <dgm:pt modelId="{B54A34BE-6025-47CB-9E7F-A0E07B4F1F5A}" type="sibTrans" cxnId="{DB9121A6-29DE-4667-B3D1-313E2ABA8096}">
      <dgm:prSet/>
      <dgm:spPr/>
      <dgm:t>
        <a:bodyPr/>
        <a:lstStyle/>
        <a:p>
          <a:endParaRPr lang="zh-TW" altLang="en-US"/>
        </a:p>
      </dgm:t>
    </dgm:pt>
    <dgm:pt modelId="{4648E70B-E7CE-4CB1-9AF0-E0EC856BB6DC}" type="parTrans" cxnId="{DB9121A6-29DE-4667-B3D1-313E2ABA8096}">
      <dgm:prSet/>
      <dgm:spPr/>
      <dgm:t>
        <a:bodyPr/>
        <a:lstStyle/>
        <a:p>
          <a:endParaRPr lang="zh-TW" altLang="en-US"/>
        </a:p>
      </dgm:t>
    </dgm:pt>
    <dgm:pt modelId="{CF788870-7A9E-48F7-93F4-5A4686CC4FB0}">
      <dgm:prSet custT="1"/>
      <dgm:spPr>
        <a:noFill/>
        <a:ln w="38100">
          <a:solidFill>
            <a:srgbClr val="FF9900">
              <a:alpha val="90000"/>
            </a:srgbClr>
          </a:solidFill>
        </a:ln>
      </dgm:spPr>
      <dgm:t>
        <a:bodyPr anchor="ctr" anchorCtr="0"/>
        <a:lstStyle/>
        <a:p>
          <a:pPr>
            <a:lnSpc>
              <a:spcPct val="100000"/>
            </a:lnSpc>
          </a:pPr>
          <a:r>
            <a:rPr lang="zh-TW" altLang="en-US" sz="2000" dirty="0">
              <a:latin typeface="微軟正黑體" panose="020B0604030504040204" pitchFamily="34" charset="-120"/>
              <a:ea typeface="微軟正黑體" panose="020B0604030504040204" pitchFamily="34" charset="-120"/>
            </a:rPr>
            <a:t>     從能力、學科導向到素養導向，</a:t>
          </a:r>
          <a:br>
            <a:rPr lang="en-US" altLang="zh-TW" sz="2000" dirty="0">
              <a:latin typeface="微軟正黑體" panose="020B0604030504040204" pitchFamily="34" charset="-120"/>
              <a:ea typeface="微軟正黑體" panose="020B0604030504040204" pitchFamily="34" charset="-120"/>
            </a:rPr>
          </a:br>
          <a:r>
            <a:rPr lang="zh-TW" altLang="en-US" sz="2000" dirty="0">
              <a:latin typeface="微軟正黑體" panose="020B0604030504040204" pitchFamily="34" charset="-120"/>
              <a:ea typeface="微軟正黑體" panose="020B0604030504040204" pitchFamily="34" charset="-120"/>
            </a:rPr>
            <a:t>      建立以學習者為主體的教學。</a:t>
          </a:r>
        </a:p>
      </dgm:t>
    </dgm:pt>
    <dgm:pt modelId="{1AA0EF40-1264-42C5-B44F-DFD81A8AC8F8}" type="parTrans" cxnId="{4DA7D2F7-E2F2-4F3E-A8E7-A0EBC4CC5A90}">
      <dgm:prSet/>
      <dgm:spPr/>
      <dgm:t>
        <a:bodyPr/>
        <a:lstStyle/>
        <a:p>
          <a:endParaRPr lang="zh-TW" altLang="en-US"/>
        </a:p>
      </dgm:t>
    </dgm:pt>
    <dgm:pt modelId="{C2F51ABB-A8B7-414D-89AB-3A7EB58FA967}" type="sibTrans" cxnId="{4DA7D2F7-E2F2-4F3E-A8E7-A0EBC4CC5A90}">
      <dgm:prSet/>
      <dgm:spPr/>
      <dgm:t>
        <a:bodyPr/>
        <a:lstStyle/>
        <a:p>
          <a:endParaRPr lang="zh-TW" altLang="en-US"/>
        </a:p>
      </dgm:t>
    </dgm:pt>
    <dgm:pt modelId="{F0B4E955-108B-41DC-A536-0903DFB21167}">
      <dgm:prSet custT="1"/>
      <dgm:spPr>
        <a:noFill/>
        <a:ln w="38100">
          <a:solidFill>
            <a:srgbClr val="0070C0">
              <a:alpha val="90000"/>
            </a:srgbClr>
          </a:solidFill>
        </a:ln>
      </dgm:spPr>
      <dgm:t>
        <a:bodyPr anchor="ctr" anchorCtr="0"/>
        <a:lstStyle/>
        <a:p>
          <a:pPr marL="542925" indent="-542925"/>
          <a:r>
            <a:rPr lang="zh-TW" altLang="en-US" sz="2000" dirty="0">
              <a:latin typeface="微軟正黑體" panose="020B0604030504040204" pitchFamily="34" charset="-120"/>
              <a:ea typeface="微軟正黑體" panose="020B0604030504040204" pitchFamily="34" charset="-120"/>
            </a:rPr>
            <a:t>顧及不同地區、族群及學校類型特色，提供課程發展彈性。</a:t>
          </a:r>
        </a:p>
      </dgm:t>
    </dgm:pt>
    <dgm:pt modelId="{D4C03B87-8B6D-4C95-9AB7-2700510A35F0}" type="parTrans" cxnId="{6A944CE4-BFF9-468B-96C1-347031BA2738}">
      <dgm:prSet/>
      <dgm:spPr/>
      <dgm:t>
        <a:bodyPr/>
        <a:lstStyle/>
        <a:p>
          <a:endParaRPr lang="zh-TW" altLang="en-US"/>
        </a:p>
      </dgm:t>
    </dgm:pt>
    <dgm:pt modelId="{D98C64F1-12DE-4AA2-8739-4DA2D2F012BA}" type="sibTrans" cxnId="{6A944CE4-BFF9-468B-96C1-347031BA2738}">
      <dgm:prSet/>
      <dgm:spPr/>
      <dgm:t>
        <a:bodyPr/>
        <a:lstStyle/>
        <a:p>
          <a:endParaRPr lang="zh-TW" altLang="en-US"/>
        </a:p>
      </dgm:t>
    </dgm:pt>
    <dgm:pt modelId="{FAB129EF-45A5-4C5A-B113-1223D9D1579D}" type="pres">
      <dgm:prSet presAssocID="{14F76185-7AB5-46E9-9C8A-62CF2C136D02}" presName="Name0" presStyleCnt="0">
        <dgm:presLayoutVars>
          <dgm:dir/>
          <dgm:animLvl val="lvl"/>
          <dgm:resizeHandles/>
        </dgm:presLayoutVars>
      </dgm:prSet>
      <dgm:spPr/>
    </dgm:pt>
    <dgm:pt modelId="{9D616E94-0005-40F8-A36F-C62FAE5DF49F}" type="pres">
      <dgm:prSet presAssocID="{565FAF34-BF8C-481F-9B4E-D4D673EE154C}" presName="linNode" presStyleCnt="0"/>
      <dgm:spPr/>
    </dgm:pt>
    <dgm:pt modelId="{2CB5F0A6-FEAF-4CDC-9494-9705B8448794}" type="pres">
      <dgm:prSet presAssocID="{565FAF34-BF8C-481F-9B4E-D4D673EE154C}" presName="parentShp" presStyleLbl="node1" presStyleIdx="0" presStyleCnt="2" custScaleX="75090" custScaleY="62670" custLinFactNeighborX="-4782" custLinFactNeighborY="-31">
        <dgm:presLayoutVars>
          <dgm:bulletEnabled val="1"/>
        </dgm:presLayoutVars>
      </dgm:prSet>
      <dgm:spPr/>
    </dgm:pt>
    <dgm:pt modelId="{77E6BA97-39DF-4F4E-A175-4D17A253BD25}" type="pres">
      <dgm:prSet presAssocID="{565FAF34-BF8C-481F-9B4E-D4D673EE154C}" presName="childShp" presStyleLbl="bgAccFollowNode1" presStyleIdx="0" presStyleCnt="2" custScaleY="90794" custLinFactNeighborX="-2732" custLinFactNeighborY="-407">
        <dgm:presLayoutVars>
          <dgm:bulletEnabled val="1"/>
        </dgm:presLayoutVars>
      </dgm:prSet>
      <dgm:spPr/>
    </dgm:pt>
    <dgm:pt modelId="{678834A7-E0AF-483A-964B-92FC98C888B6}" type="pres">
      <dgm:prSet presAssocID="{B54A34BE-6025-47CB-9E7F-A0E07B4F1F5A}" presName="spacing" presStyleCnt="0"/>
      <dgm:spPr/>
    </dgm:pt>
    <dgm:pt modelId="{DDE71D74-26D6-433D-912D-AED68929E8DE}" type="pres">
      <dgm:prSet presAssocID="{571B79F9-22CE-4BCF-B3E4-DCCB2711C635}" presName="linNode" presStyleCnt="0"/>
      <dgm:spPr/>
    </dgm:pt>
    <dgm:pt modelId="{0C768078-C5F3-4244-B551-EBA97A49AD13}" type="pres">
      <dgm:prSet presAssocID="{571B79F9-22CE-4BCF-B3E4-DCCB2711C635}" presName="parentShp" presStyleLbl="node1" presStyleIdx="1" presStyleCnt="2" custScaleX="76063" custScaleY="68798" custLinFactNeighborX="-3819" custLinFactNeighborY="-2523">
        <dgm:presLayoutVars>
          <dgm:bulletEnabled val="1"/>
        </dgm:presLayoutVars>
      </dgm:prSet>
      <dgm:spPr/>
    </dgm:pt>
    <dgm:pt modelId="{B80303D5-5406-448C-91BC-551963E19710}" type="pres">
      <dgm:prSet presAssocID="{571B79F9-22CE-4BCF-B3E4-DCCB2711C635}" presName="childShp" presStyleLbl="bgAccFollowNode1" presStyleIdx="1" presStyleCnt="2" custLinFactNeighborX="741" custLinFactNeighborY="-341">
        <dgm:presLayoutVars>
          <dgm:bulletEnabled val="1"/>
        </dgm:presLayoutVars>
      </dgm:prSet>
      <dgm:spPr/>
    </dgm:pt>
  </dgm:ptLst>
  <dgm:cxnLst>
    <dgm:cxn modelId="{C5029A2C-1DA4-43B2-97CE-4EDF53727B2C}" type="presOf" srcId="{F0B4E955-108B-41DC-A536-0903DFB21167}" destId="{B80303D5-5406-448C-91BC-551963E19710}" srcOrd="0" destOrd="1" presId="urn:microsoft.com/office/officeart/2005/8/layout/vList6"/>
    <dgm:cxn modelId="{CD19F84C-9AC2-4006-93BC-80DD596E727B}" type="presOf" srcId="{14F76185-7AB5-46E9-9C8A-62CF2C136D02}" destId="{FAB129EF-45A5-4C5A-B113-1223D9D1579D}" srcOrd="0" destOrd="0" presId="urn:microsoft.com/office/officeart/2005/8/layout/vList6"/>
    <dgm:cxn modelId="{3298A482-A5A2-488A-9506-E95439B9F4C2}" type="presOf" srcId="{8A571F04-E3CD-45AE-91FB-F1C5555C344D}" destId="{77E6BA97-39DF-4F4E-A175-4D17A253BD25}" srcOrd="0" destOrd="0" presId="urn:microsoft.com/office/officeart/2005/8/layout/vList6"/>
    <dgm:cxn modelId="{8448D38D-1DB5-4892-82E2-36A1C3DEA385}" type="presOf" srcId="{6444BB72-3AB7-4C7B-839B-FB12307A7000}" destId="{B80303D5-5406-448C-91BC-551963E19710}" srcOrd="0" destOrd="0" presId="urn:microsoft.com/office/officeart/2005/8/layout/vList6"/>
    <dgm:cxn modelId="{A44C4B95-D8F1-477B-9B5E-D74A37D36047}" type="presOf" srcId="{571B79F9-22CE-4BCF-B3E4-DCCB2711C635}" destId="{0C768078-C5F3-4244-B551-EBA97A49AD13}" srcOrd="0" destOrd="0" presId="urn:microsoft.com/office/officeart/2005/8/layout/vList6"/>
    <dgm:cxn modelId="{6BAE399C-2893-4867-9359-D9EC56FDCF57}" srcId="{14F76185-7AB5-46E9-9C8A-62CF2C136D02}" destId="{571B79F9-22CE-4BCF-B3E4-DCCB2711C635}" srcOrd="1" destOrd="0" parTransId="{4A01C014-C3A2-472B-99E6-D371E3EB5574}" sibTransId="{F5D3DACD-AE43-4FED-96DD-8063C808400A}"/>
    <dgm:cxn modelId="{DB9121A6-29DE-4667-B3D1-313E2ABA8096}" srcId="{14F76185-7AB5-46E9-9C8A-62CF2C136D02}" destId="{565FAF34-BF8C-481F-9B4E-D4D673EE154C}" srcOrd="0" destOrd="0" parTransId="{4648E70B-E7CE-4CB1-9AF0-E0EC856BB6DC}" sibTransId="{B54A34BE-6025-47CB-9E7F-A0E07B4F1F5A}"/>
    <dgm:cxn modelId="{ED01A0BD-78BF-4CBF-BBD5-15A254FE98BD}" type="presOf" srcId="{CF788870-7A9E-48F7-93F4-5A4686CC4FB0}" destId="{77E6BA97-39DF-4F4E-A175-4D17A253BD25}" srcOrd="0" destOrd="1" presId="urn:microsoft.com/office/officeart/2005/8/layout/vList6"/>
    <dgm:cxn modelId="{05EF78DC-2DAB-4D85-A371-164EEE67C234}" type="presOf" srcId="{565FAF34-BF8C-481F-9B4E-D4D673EE154C}" destId="{2CB5F0A6-FEAF-4CDC-9494-9705B8448794}" srcOrd="0" destOrd="0" presId="urn:microsoft.com/office/officeart/2005/8/layout/vList6"/>
    <dgm:cxn modelId="{6A944CE4-BFF9-468B-96C1-347031BA2738}" srcId="{571B79F9-22CE-4BCF-B3E4-DCCB2711C635}" destId="{F0B4E955-108B-41DC-A536-0903DFB21167}" srcOrd="1" destOrd="0" parTransId="{D4C03B87-8B6D-4C95-9AB7-2700510A35F0}" sibTransId="{D98C64F1-12DE-4AA2-8739-4DA2D2F012BA}"/>
    <dgm:cxn modelId="{24C79FF2-AFEF-466F-A994-97C51BCDF350}" srcId="{565FAF34-BF8C-481F-9B4E-D4D673EE154C}" destId="{8A571F04-E3CD-45AE-91FB-F1C5555C344D}" srcOrd="0" destOrd="0" parTransId="{17DFFEA9-2F7A-4704-881D-CCE3964F01B0}" sibTransId="{2FEEF821-3444-4BFC-A44F-2E25EDFAA5B5}"/>
    <dgm:cxn modelId="{4DA7D2F7-E2F2-4F3E-A8E7-A0EBC4CC5A90}" srcId="{565FAF34-BF8C-481F-9B4E-D4D673EE154C}" destId="{CF788870-7A9E-48F7-93F4-5A4686CC4FB0}" srcOrd="1" destOrd="0" parTransId="{1AA0EF40-1264-42C5-B44F-DFD81A8AC8F8}" sibTransId="{C2F51ABB-A8B7-414D-89AB-3A7EB58FA967}"/>
    <dgm:cxn modelId="{B82DD7FB-D075-46BA-A93F-8BC89C8167C6}" srcId="{571B79F9-22CE-4BCF-B3E4-DCCB2711C635}" destId="{6444BB72-3AB7-4C7B-839B-FB12307A7000}" srcOrd="0" destOrd="0" parTransId="{2631AF48-913F-4C73-9888-B548BF841679}" sibTransId="{34201A53-70D6-449D-A32D-34DDD30CC54F}"/>
    <dgm:cxn modelId="{AE31A7E5-ABE8-4EE8-AC4D-67A1E4D95F5D}" type="presParOf" srcId="{FAB129EF-45A5-4C5A-B113-1223D9D1579D}" destId="{9D616E94-0005-40F8-A36F-C62FAE5DF49F}" srcOrd="0" destOrd="0" presId="urn:microsoft.com/office/officeart/2005/8/layout/vList6"/>
    <dgm:cxn modelId="{2980A20B-201F-43F1-9557-BCFB50659442}" type="presParOf" srcId="{9D616E94-0005-40F8-A36F-C62FAE5DF49F}" destId="{2CB5F0A6-FEAF-4CDC-9494-9705B8448794}" srcOrd="0" destOrd="0" presId="urn:microsoft.com/office/officeart/2005/8/layout/vList6"/>
    <dgm:cxn modelId="{6950181D-C5E0-4987-BD91-8F05D475C06D}" type="presParOf" srcId="{9D616E94-0005-40F8-A36F-C62FAE5DF49F}" destId="{77E6BA97-39DF-4F4E-A175-4D17A253BD25}" srcOrd="1" destOrd="0" presId="urn:microsoft.com/office/officeart/2005/8/layout/vList6"/>
    <dgm:cxn modelId="{DFF3CA54-6886-447B-A827-2218853CC515}" type="presParOf" srcId="{FAB129EF-45A5-4C5A-B113-1223D9D1579D}" destId="{678834A7-E0AF-483A-964B-92FC98C888B6}" srcOrd="1" destOrd="0" presId="urn:microsoft.com/office/officeart/2005/8/layout/vList6"/>
    <dgm:cxn modelId="{56046B30-7EE2-46BF-90EB-DEA0AF689D79}" type="presParOf" srcId="{FAB129EF-45A5-4C5A-B113-1223D9D1579D}" destId="{DDE71D74-26D6-433D-912D-AED68929E8DE}" srcOrd="2" destOrd="0" presId="urn:microsoft.com/office/officeart/2005/8/layout/vList6"/>
    <dgm:cxn modelId="{6B819579-6EBE-400E-96A4-960D45EBBF76}" type="presParOf" srcId="{DDE71D74-26D6-433D-912D-AED68929E8DE}" destId="{0C768078-C5F3-4244-B551-EBA97A49AD13}" srcOrd="0" destOrd="0" presId="urn:microsoft.com/office/officeart/2005/8/layout/vList6"/>
    <dgm:cxn modelId="{ED76B41E-1393-4FF7-A0E4-CEADB8E03FFE}" type="presParOf" srcId="{DDE71D74-26D6-433D-912D-AED68929E8DE}" destId="{B80303D5-5406-448C-91BC-551963E19710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3563F0E-3558-4AD0-9442-210AAFD70F8D}" type="doc">
      <dgm:prSet loTypeId="urn:microsoft.com/office/officeart/2005/8/layout/pyramid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TW" altLang="en-US"/>
        </a:p>
      </dgm:t>
    </dgm:pt>
    <dgm:pt modelId="{C8C624DC-23C6-48BE-944C-21A9E7EACA79}">
      <dgm:prSet phldrT="[文字]" custT="1"/>
      <dgm:spPr>
        <a:solidFill>
          <a:srgbClr val="FFC000"/>
        </a:solidFill>
      </dgm:spPr>
      <dgm:t>
        <a:bodyPr/>
        <a:lstStyle/>
        <a:p>
          <a:pPr>
            <a:lnSpc>
              <a:spcPts val="1300"/>
            </a:lnSpc>
          </a:pPr>
          <a:r>
            <a:rPr lang="zh-TW" altLang="en-US" sz="14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經驗</a:t>
          </a:r>
          <a:endParaRPr lang="en-US" altLang="zh-TW" sz="1400" dirty="0">
            <a:solidFill>
              <a:schemeClr val="tx1">
                <a:lumMod val="85000"/>
                <a:lumOff val="1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lnSpc>
              <a:spcPts val="1300"/>
            </a:lnSpc>
          </a:pPr>
          <a:r>
            <a:rPr lang="zh-TW" altLang="en-US" sz="14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世界</a:t>
          </a:r>
        </a:p>
      </dgm:t>
    </dgm:pt>
    <dgm:pt modelId="{9E00A41E-D8A7-4F10-8843-1FCCFCE6AD10}" type="parTrans" cxnId="{2FDB289F-8C02-4762-B2C1-1E6F63EE01AD}">
      <dgm:prSet/>
      <dgm:spPr/>
      <dgm:t>
        <a:bodyPr/>
        <a:lstStyle/>
        <a:p>
          <a:endParaRPr lang="zh-TW" altLang="en-US"/>
        </a:p>
      </dgm:t>
    </dgm:pt>
    <dgm:pt modelId="{8415B814-5F65-40EB-B4B4-011B7953CB7C}" type="sibTrans" cxnId="{2FDB289F-8C02-4762-B2C1-1E6F63EE01AD}">
      <dgm:prSet/>
      <dgm:spPr/>
      <dgm:t>
        <a:bodyPr/>
        <a:lstStyle/>
        <a:p>
          <a:endParaRPr lang="zh-TW" altLang="en-US"/>
        </a:p>
      </dgm:t>
    </dgm:pt>
    <dgm:pt modelId="{42F5208C-D6F4-42C8-B8A6-3B6EDB4D72BD}">
      <dgm:prSet phldrT="[文字]" custT="1"/>
      <dgm:spPr>
        <a:solidFill>
          <a:srgbClr val="FFC000"/>
        </a:solidFill>
      </dgm:spPr>
      <dgm:t>
        <a:bodyPr/>
        <a:lstStyle/>
        <a:p>
          <a:pPr>
            <a:lnSpc>
              <a:spcPts val="1300"/>
            </a:lnSpc>
          </a:pPr>
          <a:r>
            <a:rPr lang="zh-TW" altLang="en-US" sz="14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語文</a:t>
          </a:r>
          <a:endParaRPr lang="en-US" altLang="zh-TW" sz="1400" dirty="0">
            <a:solidFill>
              <a:schemeClr val="tx1">
                <a:lumMod val="85000"/>
                <a:lumOff val="1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lnSpc>
              <a:spcPts val="1300"/>
            </a:lnSpc>
          </a:pPr>
          <a:r>
            <a:rPr lang="zh-TW" altLang="en-US" sz="14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實用</a:t>
          </a:r>
        </a:p>
      </dgm:t>
    </dgm:pt>
    <dgm:pt modelId="{1717A79B-3567-4E37-990D-CACC15CDFE27}" type="parTrans" cxnId="{DB935768-E579-41F1-BF8F-CEFBFE504AB7}">
      <dgm:prSet/>
      <dgm:spPr/>
      <dgm:t>
        <a:bodyPr/>
        <a:lstStyle/>
        <a:p>
          <a:endParaRPr lang="zh-TW" altLang="en-US"/>
        </a:p>
      </dgm:t>
    </dgm:pt>
    <dgm:pt modelId="{CA4D44C4-2230-442E-8753-C5D5D658CEFA}" type="sibTrans" cxnId="{DB935768-E579-41F1-BF8F-CEFBFE504AB7}">
      <dgm:prSet/>
      <dgm:spPr/>
      <dgm:t>
        <a:bodyPr/>
        <a:lstStyle/>
        <a:p>
          <a:endParaRPr lang="zh-TW" altLang="en-US"/>
        </a:p>
      </dgm:t>
    </dgm:pt>
    <dgm:pt modelId="{46E4A068-0053-4072-B726-25ED7FA9A831}">
      <dgm:prSet phldrT="[文字]" custT="1"/>
      <dgm:spPr>
        <a:solidFill>
          <a:srgbClr val="FFC000"/>
        </a:solidFill>
      </dgm:spPr>
      <dgm:t>
        <a:bodyPr/>
        <a:lstStyle/>
        <a:p>
          <a:pPr>
            <a:lnSpc>
              <a:spcPct val="90000"/>
            </a:lnSpc>
          </a:pPr>
          <a:endParaRPr lang="en-US" altLang="zh-TW" sz="1100" dirty="0">
            <a:solidFill>
              <a:schemeClr val="tx1">
                <a:lumMod val="85000"/>
                <a:lumOff val="1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lnSpc>
              <a:spcPts val="1300"/>
            </a:lnSpc>
          </a:pPr>
          <a:r>
            <a:rPr lang="zh-TW" altLang="en-US" sz="14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素養</a:t>
          </a:r>
          <a:endParaRPr lang="en-US" altLang="zh-TW" sz="1400" dirty="0">
            <a:solidFill>
              <a:schemeClr val="tx1">
                <a:lumMod val="85000"/>
                <a:lumOff val="1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lnSpc>
              <a:spcPts val="1300"/>
            </a:lnSpc>
          </a:pPr>
          <a:r>
            <a:rPr lang="zh-TW" altLang="en-US" sz="14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導向</a:t>
          </a:r>
        </a:p>
      </dgm:t>
    </dgm:pt>
    <dgm:pt modelId="{49847B22-0B3B-42EE-B3BA-D543B700D1F5}" type="sibTrans" cxnId="{F2FFB855-1003-4788-97CF-FF15F23EEF20}">
      <dgm:prSet/>
      <dgm:spPr/>
      <dgm:t>
        <a:bodyPr/>
        <a:lstStyle/>
        <a:p>
          <a:endParaRPr lang="zh-TW" altLang="en-US"/>
        </a:p>
      </dgm:t>
    </dgm:pt>
    <dgm:pt modelId="{3B16A255-260F-4343-8195-BBDD93F951C4}" type="parTrans" cxnId="{F2FFB855-1003-4788-97CF-FF15F23EEF20}">
      <dgm:prSet/>
      <dgm:spPr/>
      <dgm:t>
        <a:bodyPr/>
        <a:lstStyle/>
        <a:p>
          <a:endParaRPr lang="zh-TW" altLang="en-US"/>
        </a:p>
      </dgm:t>
    </dgm:pt>
    <dgm:pt modelId="{80D73FD5-CBE9-444F-B45B-A1854FEAD950}">
      <dgm:prSet phldrT="[文字]" custT="1"/>
      <dgm:spPr>
        <a:solidFill>
          <a:srgbClr val="FFC000"/>
        </a:solidFill>
      </dgm:spPr>
      <dgm:t>
        <a:bodyPr/>
        <a:lstStyle/>
        <a:p>
          <a:pPr>
            <a:lnSpc>
              <a:spcPts val="1300"/>
            </a:lnSpc>
          </a:pPr>
          <a:r>
            <a:rPr lang="zh-TW" altLang="en-US" sz="14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學習</a:t>
          </a:r>
          <a:endParaRPr lang="en-US" altLang="zh-TW" sz="1400" dirty="0">
            <a:solidFill>
              <a:schemeClr val="tx1">
                <a:lumMod val="85000"/>
                <a:lumOff val="1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lnSpc>
              <a:spcPts val="1300"/>
            </a:lnSpc>
          </a:pPr>
          <a:r>
            <a:rPr lang="zh-TW" altLang="en-US" sz="14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策略</a:t>
          </a:r>
        </a:p>
      </dgm:t>
    </dgm:pt>
    <dgm:pt modelId="{110D5868-C5B1-4C6C-A0CA-2E359B6EE1AA}" type="sibTrans" cxnId="{2A9A9819-6EB0-43D4-B0B4-C8D80BE3A160}">
      <dgm:prSet/>
      <dgm:spPr/>
      <dgm:t>
        <a:bodyPr/>
        <a:lstStyle/>
        <a:p>
          <a:endParaRPr lang="zh-TW" altLang="en-US"/>
        </a:p>
      </dgm:t>
    </dgm:pt>
    <dgm:pt modelId="{74F69A9C-83CB-48CB-A1E0-6A74FDCFB251}" type="parTrans" cxnId="{2A9A9819-6EB0-43D4-B0B4-C8D80BE3A160}">
      <dgm:prSet/>
      <dgm:spPr/>
      <dgm:t>
        <a:bodyPr/>
        <a:lstStyle/>
        <a:p>
          <a:endParaRPr lang="zh-TW" altLang="en-US"/>
        </a:p>
      </dgm:t>
    </dgm:pt>
    <dgm:pt modelId="{B743A9FA-C3FD-4F92-8B9E-E723B36DAA31}" type="pres">
      <dgm:prSet presAssocID="{C3563F0E-3558-4AD0-9442-210AAFD70F8D}" presName="compositeShape" presStyleCnt="0">
        <dgm:presLayoutVars>
          <dgm:chMax val="9"/>
          <dgm:dir/>
          <dgm:resizeHandles val="exact"/>
        </dgm:presLayoutVars>
      </dgm:prSet>
      <dgm:spPr/>
    </dgm:pt>
    <dgm:pt modelId="{5A9E9A45-3563-4AA5-B51B-92A2F463EB52}" type="pres">
      <dgm:prSet presAssocID="{C3563F0E-3558-4AD0-9442-210AAFD70F8D}" presName="triangle1" presStyleLbl="node1" presStyleIdx="0" presStyleCnt="4" custScaleX="126898" custScaleY="94707" custLinFactNeighborX="2020" custLinFactNeighborY="280">
        <dgm:presLayoutVars>
          <dgm:bulletEnabled val="1"/>
        </dgm:presLayoutVars>
      </dgm:prSet>
      <dgm:spPr/>
    </dgm:pt>
    <dgm:pt modelId="{2673FF04-05D2-497D-98C9-B576F4142C03}" type="pres">
      <dgm:prSet presAssocID="{C3563F0E-3558-4AD0-9442-210AAFD70F8D}" presName="triangle2" presStyleLbl="node1" presStyleIdx="1" presStyleCnt="4" custScaleX="123738" custScaleY="83715" custLinFactNeighborX="-10432" custLinFactNeighborY="-10019">
        <dgm:presLayoutVars>
          <dgm:bulletEnabled val="1"/>
        </dgm:presLayoutVars>
      </dgm:prSet>
      <dgm:spPr/>
    </dgm:pt>
    <dgm:pt modelId="{33400226-84EA-4FCB-B0F6-1EFBB0C76297}" type="pres">
      <dgm:prSet presAssocID="{C3563F0E-3558-4AD0-9442-210AAFD70F8D}" presName="triangle3" presStyleLbl="node1" presStyleIdx="2" presStyleCnt="4" custScaleX="127603" custScaleY="83957" custLinFactNeighborX="875" custLinFactNeighborY="-9709">
        <dgm:presLayoutVars>
          <dgm:bulletEnabled val="1"/>
        </dgm:presLayoutVars>
      </dgm:prSet>
      <dgm:spPr/>
    </dgm:pt>
    <dgm:pt modelId="{F721195A-E3B1-402B-9ACA-1A19141E2572}" type="pres">
      <dgm:prSet presAssocID="{C3563F0E-3558-4AD0-9442-210AAFD70F8D}" presName="triangle4" presStyleLbl="node1" presStyleIdx="3" presStyleCnt="4" custScaleX="124685" custScaleY="83177" custLinFactNeighborX="13151" custLinFactNeighborY="-10778">
        <dgm:presLayoutVars>
          <dgm:bulletEnabled val="1"/>
        </dgm:presLayoutVars>
      </dgm:prSet>
      <dgm:spPr/>
    </dgm:pt>
  </dgm:ptLst>
  <dgm:cxnLst>
    <dgm:cxn modelId="{2A9A9819-6EB0-43D4-B0B4-C8D80BE3A160}" srcId="{C3563F0E-3558-4AD0-9442-210AAFD70F8D}" destId="{80D73FD5-CBE9-444F-B45B-A1854FEAD950}" srcOrd="1" destOrd="0" parTransId="{74F69A9C-83CB-48CB-A1E0-6A74FDCFB251}" sibTransId="{110D5868-C5B1-4C6C-A0CA-2E359B6EE1AA}"/>
    <dgm:cxn modelId="{9997F024-9453-49E7-BEA0-49CC290953FA}" type="presOf" srcId="{C8C624DC-23C6-48BE-944C-21A9E7EACA79}" destId="{5A9E9A45-3563-4AA5-B51B-92A2F463EB52}" srcOrd="0" destOrd="0" presId="urn:microsoft.com/office/officeart/2005/8/layout/pyramid4"/>
    <dgm:cxn modelId="{9007292E-64F7-4436-A16F-0DDA3F389833}" type="presOf" srcId="{80D73FD5-CBE9-444F-B45B-A1854FEAD950}" destId="{2673FF04-05D2-497D-98C9-B576F4142C03}" srcOrd="0" destOrd="0" presId="urn:microsoft.com/office/officeart/2005/8/layout/pyramid4"/>
    <dgm:cxn modelId="{02D0D75C-AC0E-45E0-A3A1-14057FA0E373}" type="presOf" srcId="{42F5208C-D6F4-42C8-B8A6-3B6EDB4D72BD}" destId="{F721195A-E3B1-402B-9ACA-1A19141E2572}" srcOrd="0" destOrd="0" presId="urn:microsoft.com/office/officeart/2005/8/layout/pyramid4"/>
    <dgm:cxn modelId="{DB935768-E579-41F1-BF8F-CEFBFE504AB7}" srcId="{C3563F0E-3558-4AD0-9442-210AAFD70F8D}" destId="{42F5208C-D6F4-42C8-B8A6-3B6EDB4D72BD}" srcOrd="3" destOrd="0" parTransId="{1717A79B-3567-4E37-990D-CACC15CDFE27}" sibTransId="{CA4D44C4-2230-442E-8753-C5D5D658CEFA}"/>
    <dgm:cxn modelId="{F2FFB855-1003-4788-97CF-FF15F23EEF20}" srcId="{C3563F0E-3558-4AD0-9442-210AAFD70F8D}" destId="{46E4A068-0053-4072-B726-25ED7FA9A831}" srcOrd="2" destOrd="0" parTransId="{3B16A255-260F-4343-8195-BBDD93F951C4}" sibTransId="{49847B22-0B3B-42EE-B3BA-D543B700D1F5}"/>
    <dgm:cxn modelId="{2FDB289F-8C02-4762-B2C1-1E6F63EE01AD}" srcId="{C3563F0E-3558-4AD0-9442-210AAFD70F8D}" destId="{C8C624DC-23C6-48BE-944C-21A9E7EACA79}" srcOrd="0" destOrd="0" parTransId="{9E00A41E-D8A7-4F10-8843-1FCCFCE6AD10}" sibTransId="{8415B814-5F65-40EB-B4B4-011B7953CB7C}"/>
    <dgm:cxn modelId="{B64FB4BA-5056-4D1B-B96A-4031676458D7}" type="presOf" srcId="{46E4A068-0053-4072-B726-25ED7FA9A831}" destId="{33400226-84EA-4FCB-B0F6-1EFBB0C76297}" srcOrd="0" destOrd="0" presId="urn:microsoft.com/office/officeart/2005/8/layout/pyramid4"/>
    <dgm:cxn modelId="{0EF56DE2-44F5-4948-A740-69D7135C7879}" type="presOf" srcId="{C3563F0E-3558-4AD0-9442-210AAFD70F8D}" destId="{B743A9FA-C3FD-4F92-8B9E-E723B36DAA31}" srcOrd="0" destOrd="0" presId="urn:microsoft.com/office/officeart/2005/8/layout/pyramid4"/>
    <dgm:cxn modelId="{99D5B88E-0A2D-46B0-A699-8A8C9E431A23}" type="presParOf" srcId="{B743A9FA-C3FD-4F92-8B9E-E723B36DAA31}" destId="{5A9E9A45-3563-4AA5-B51B-92A2F463EB52}" srcOrd="0" destOrd="0" presId="urn:microsoft.com/office/officeart/2005/8/layout/pyramid4"/>
    <dgm:cxn modelId="{78DA4269-74F8-4FB6-92DB-EA5569A41EF1}" type="presParOf" srcId="{B743A9FA-C3FD-4F92-8B9E-E723B36DAA31}" destId="{2673FF04-05D2-497D-98C9-B576F4142C03}" srcOrd="1" destOrd="0" presId="urn:microsoft.com/office/officeart/2005/8/layout/pyramid4"/>
    <dgm:cxn modelId="{6FCFFCE1-27F7-4095-8747-C75FB835AFF9}" type="presParOf" srcId="{B743A9FA-C3FD-4F92-8B9E-E723B36DAA31}" destId="{33400226-84EA-4FCB-B0F6-1EFBB0C76297}" srcOrd="2" destOrd="0" presId="urn:microsoft.com/office/officeart/2005/8/layout/pyramid4"/>
    <dgm:cxn modelId="{01B06D10-066C-4EFD-8193-A9F4DC930902}" type="presParOf" srcId="{B743A9FA-C3FD-4F92-8B9E-E723B36DAA31}" destId="{F721195A-E3B1-402B-9ACA-1A19141E2572}" srcOrd="3" destOrd="0" presId="urn:microsoft.com/office/officeart/2005/8/layout/pyramid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B94B4CB8-CBB1-4C49-99FB-AE1DEBB3CC21}" type="doc">
      <dgm:prSet loTypeId="urn:microsoft.com/office/officeart/2005/8/layout/venn3" loCatId="relationship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zh-TW" altLang="en-US"/>
        </a:p>
      </dgm:t>
    </dgm:pt>
    <dgm:pt modelId="{222DB753-4484-4932-BFEF-95410E3AD80B}">
      <dgm:prSet phldrT="[文字]"/>
      <dgm:spPr/>
      <dgm:t>
        <a:bodyPr/>
        <a:lstStyle/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整合</a:t>
          </a:r>
          <a:endParaRPr lang="en-US" altLang="zh-TW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知識、技能與態度</a:t>
          </a:r>
        </a:p>
      </dgm:t>
    </dgm:pt>
    <dgm:pt modelId="{45AA21BC-6B1D-4571-B00E-61A9D26F8892}" type="parTrans" cxnId="{3E717190-99B9-499F-86CD-9010D77DB6EC}">
      <dgm:prSet/>
      <dgm:spPr/>
      <dgm:t>
        <a:bodyPr/>
        <a:lstStyle/>
        <a:p>
          <a:endParaRPr lang="zh-TW" altLang="en-US"/>
        </a:p>
      </dgm:t>
    </dgm:pt>
    <dgm:pt modelId="{146D6C8C-FC32-4865-B3F5-D995FE8A3A31}" type="sibTrans" cxnId="{3E717190-99B9-499F-86CD-9010D77DB6EC}">
      <dgm:prSet/>
      <dgm:spPr/>
      <dgm:t>
        <a:bodyPr/>
        <a:lstStyle/>
        <a:p>
          <a:endParaRPr lang="zh-TW" altLang="en-US"/>
        </a:p>
      </dgm:t>
    </dgm:pt>
    <dgm:pt modelId="{D02FB789-63C7-4106-B3C0-EC4626CBA163}">
      <dgm:prSet phldrT="[文字]"/>
      <dgm:spPr/>
      <dgm:t>
        <a:bodyPr/>
        <a:lstStyle/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導入</a:t>
          </a:r>
          <a:endParaRPr lang="en-US" altLang="zh-TW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情境脈絡化的學習</a:t>
          </a:r>
        </a:p>
      </dgm:t>
    </dgm:pt>
    <dgm:pt modelId="{E78B0802-4BFD-4108-A29F-3E7ACB33B13D}" type="parTrans" cxnId="{CC2493B5-071C-4082-9748-94BDFD3AC20C}">
      <dgm:prSet/>
      <dgm:spPr/>
      <dgm:t>
        <a:bodyPr/>
        <a:lstStyle/>
        <a:p>
          <a:endParaRPr lang="zh-TW" altLang="en-US"/>
        </a:p>
      </dgm:t>
    </dgm:pt>
    <dgm:pt modelId="{A6F3B58D-C176-4DC4-9198-F07ABD2451C9}" type="sibTrans" cxnId="{CC2493B5-071C-4082-9748-94BDFD3AC20C}">
      <dgm:prSet/>
      <dgm:spPr/>
      <dgm:t>
        <a:bodyPr/>
        <a:lstStyle/>
        <a:p>
          <a:endParaRPr lang="zh-TW" altLang="en-US"/>
        </a:p>
      </dgm:t>
    </dgm:pt>
    <dgm:pt modelId="{3A1B79B9-D0A7-4FE6-A6B4-BEBF0403AB6F}">
      <dgm:prSet phldrT="[文字]"/>
      <dgm:spPr/>
      <dgm:t>
        <a:bodyPr/>
        <a:lstStyle/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強調</a:t>
          </a:r>
          <a:endParaRPr lang="en-US" altLang="zh-TW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學習方法及策略</a:t>
          </a:r>
        </a:p>
      </dgm:t>
    </dgm:pt>
    <dgm:pt modelId="{EEC81835-A713-4200-A4ED-2C85F8780B14}" type="parTrans" cxnId="{083DA861-242A-494A-BE77-E0BEFBE5B6B9}">
      <dgm:prSet/>
      <dgm:spPr/>
      <dgm:t>
        <a:bodyPr/>
        <a:lstStyle/>
        <a:p>
          <a:endParaRPr lang="zh-TW" altLang="en-US"/>
        </a:p>
      </dgm:t>
    </dgm:pt>
    <dgm:pt modelId="{E5B7CBE5-B9C9-4420-BBAD-80DD9D23C5A7}" type="sibTrans" cxnId="{083DA861-242A-494A-BE77-E0BEFBE5B6B9}">
      <dgm:prSet/>
      <dgm:spPr/>
      <dgm:t>
        <a:bodyPr/>
        <a:lstStyle/>
        <a:p>
          <a:endParaRPr lang="zh-TW" altLang="en-US"/>
        </a:p>
      </dgm:t>
    </dgm:pt>
    <dgm:pt modelId="{9B05D9D6-139B-402C-9467-F6F60F206EE1}">
      <dgm:prSet phldrT="[文字]"/>
      <dgm:spPr/>
      <dgm:t>
        <a:bodyPr/>
        <a:lstStyle/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著重</a:t>
          </a:r>
          <a:endParaRPr lang="en-US" altLang="zh-TW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>
            <a:spcAft>
              <a:spcPts val="0"/>
            </a:spcAft>
          </a:pPr>
          <a:r>
            <a: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rPr>
            <a:t>活用實踐的表現</a:t>
          </a:r>
        </a:p>
      </dgm:t>
    </dgm:pt>
    <dgm:pt modelId="{6E3653BF-A5B4-448A-A33F-ACCF10A889BC}" type="parTrans" cxnId="{2FB77C99-90B9-4CFC-847B-E2A813BEF0C4}">
      <dgm:prSet/>
      <dgm:spPr/>
      <dgm:t>
        <a:bodyPr/>
        <a:lstStyle/>
        <a:p>
          <a:endParaRPr lang="zh-TW" altLang="en-US"/>
        </a:p>
      </dgm:t>
    </dgm:pt>
    <dgm:pt modelId="{5CBEA193-F9B3-43C5-989D-2DAEAE2E156C}" type="sibTrans" cxnId="{2FB77C99-90B9-4CFC-847B-E2A813BEF0C4}">
      <dgm:prSet/>
      <dgm:spPr/>
      <dgm:t>
        <a:bodyPr/>
        <a:lstStyle/>
        <a:p>
          <a:endParaRPr lang="zh-TW" altLang="en-US"/>
        </a:p>
      </dgm:t>
    </dgm:pt>
    <dgm:pt modelId="{12BD0511-5105-44DA-A834-5C3CC9976E7B}" type="pres">
      <dgm:prSet presAssocID="{B94B4CB8-CBB1-4C49-99FB-AE1DEBB3CC21}" presName="Name0" presStyleCnt="0">
        <dgm:presLayoutVars>
          <dgm:dir/>
          <dgm:resizeHandles val="exact"/>
        </dgm:presLayoutVars>
      </dgm:prSet>
      <dgm:spPr/>
    </dgm:pt>
    <dgm:pt modelId="{EF532DBC-9E98-497E-986F-1912179037C5}" type="pres">
      <dgm:prSet presAssocID="{222DB753-4484-4932-BFEF-95410E3AD80B}" presName="Name5" presStyleLbl="vennNode1" presStyleIdx="0" presStyleCnt="4">
        <dgm:presLayoutVars>
          <dgm:bulletEnabled val="1"/>
        </dgm:presLayoutVars>
      </dgm:prSet>
      <dgm:spPr/>
    </dgm:pt>
    <dgm:pt modelId="{93061758-F769-4F02-BB5A-821A5F227C70}" type="pres">
      <dgm:prSet presAssocID="{146D6C8C-FC32-4865-B3F5-D995FE8A3A31}" presName="space" presStyleCnt="0"/>
      <dgm:spPr/>
    </dgm:pt>
    <dgm:pt modelId="{F51AB7F1-96CF-4866-8CDB-54F378C2AEB6}" type="pres">
      <dgm:prSet presAssocID="{D02FB789-63C7-4106-B3C0-EC4626CBA163}" presName="Name5" presStyleLbl="vennNode1" presStyleIdx="1" presStyleCnt="4">
        <dgm:presLayoutVars>
          <dgm:bulletEnabled val="1"/>
        </dgm:presLayoutVars>
      </dgm:prSet>
      <dgm:spPr/>
    </dgm:pt>
    <dgm:pt modelId="{D20EEA97-3146-415F-A17B-BBBCE446DD1C}" type="pres">
      <dgm:prSet presAssocID="{A6F3B58D-C176-4DC4-9198-F07ABD2451C9}" presName="space" presStyleCnt="0"/>
      <dgm:spPr/>
    </dgm:pt>
    <dgm:pt modelId="{7559D296-669B-4078-B3E6-CE2EE71EA6FC}" type="pres">
      <dgm:prSet presAssocID="{3A1B79B9-D0A7-4FE6-A6B4-BEBF0403AB6F}" presName="Name5" presStyleLbl="vennNode1" presStyleIdx="2" presStyleCnt="4">
        <dgm:presLayoutVars>
          <dgm:bulletEnabled val="1"/>
        </dgm:presLayoutVars>
      </dgm:prSet>
      <dgm:spPr/>
    </dgm:pt>
    <dgm:pt modelId="{6D8B694F-3E9F-4163-809D-0003C25753B7}" type="pres">
      <dgm:prSet presAssocID="{E5B7CBE5-B9C9-4420-BBAD-80DD9D23C5A7}" presName="space" presStyleCnt="0"/>
      <dgm:spPr/>
    </dgm:pt>
    <dgm:pt modelId="{55F2D30D-5558-4A71-A60E-D399E1E44DE7}" type="pres">
      <dgm:prSet presAssocID="{9B05D9D6-139B-402C-9467-F6F60F206EE1}" presName="Name5" presStyleLbl="vennNode1" presStyleIdx="3" presStyleCnt="4">
        <dgm:presLayoutVars>
          <dgm:bulletEnabled val="1"/>
        </dgm:presLayoutVars>
      </dgm:prSet>
      <dgm:spPr/>
    </dgm:pt>
  </dgm:ptLst>
  <dgm:cxnLst>
    <dgm:cxn modelId="{083DA861-242A-494A-BE77-E0BEFBE5B6B9}" srcId="{B94B4CB8-CBB1-4C49-99FB-AE1DEBB3CC21}" destId="{3A1B79B9-D0A7-4FE6-A6B4-BEBF0403AB6F}" srcOrd="2" destOrd="0" parTransId="{EEC81835-A713-4200-A4ED-2C85F8780B14}" sibTransId="{E5B7CBE5-B9C9-4420-BBAD-80DD9D23C5A7}"/>
    <dgm:cxn modelId="{B6E76846-CFDD-47BB-A6AC-15C952EE6AA1}" type="presOf" srcId="{222DB753-4484-4932-BFEF-95410E3AD80B}" destId="{EF532DBC-9E98-497E-986F-1912179037C5}" srcOrd="0" destOrd="0" presId="urn:microsoft.com/office/officeart/2005/8/layout/venn3"/>
    <dgm:cxn modelId="{EF02B452-B219-4C09-8523-9A503AB5C577}" type="presOf" srcId="{D02FB789-63C7-4106-B3C0-EC4626CBA163}" destId="{F51AB7F1-96CF-4866-8CDB-54F378C2AEB6}" srcOrd="0" destOrd="0" presId="urn:microsoft.com/office/officeart/2005/8/layout/venn3"/>
    <dgm:cxn modelId="{E12A8683-060E-485F-8636-C2FD7696357E}" type="presOf" srcId="{9B05D9D6-139B-402C-9467-F6F60F206EE1}" destId="{55F2D30D-5558-4A71-A60E-D399E1E44DE7}" srcOrd="0" destOrd="0" presId="urn:microsoft.com/office/officeart/2005/8/layout/venn3"/>
    <dgm:cxn modelId="{3E717190-99B9-499F-86CD-9010D77DB6EC}" srcId="{B94B4CB8-CBB1-4C49-99FB-AE1DEBB3CC21}" destId="{222DB753-4484-4932-BFEF-95410E3AD80B}" srcOrd="0" destOrd="0" parTransId="{45AA21BC-6B1D-4571-B00E-61A9D26F8892}" sibTransId="{146D6C8C-FC32-4865-B3F5-D995FE8A3A31}"/>
    <dgm:cxn modelId="{77FB4E92-EC4A-48EF-9070-384626A56F56}" type="presOf" srcId="{3A1B79B9-D0A7-4FE6-A6B4-BEBF0403AB6F}" destId="{7559D296-669B-4078-B3E6-CE2EE71EA6FC}" srcOrd="0" destOrd="0" presId="urn:microsoft.com/office/officeart/2005/8/layout/venn3"/>
    <dgm:cxn modelId="{2FB77C99-90B9-4CFC-847B-E2A813BEF0C4}" srcId="{B94B4CB8-CBB1-4C49-99FB-AE1DEBB3CC21}" destId="{9B05D9D6-139B-402C-9467-F6F60F206EE1}" srcOrd="3" destOrd="0" parTransId="{6E3653BF-A5B4-448A-A33F-ACCF10A889BC}" sibTransId="{5CBEA193-F9B3-43C5-989D-2DAEAE2E156C}"/>
    <dgm:cxn modelId="{CC2493B5-071C-4082-9748-94BDFD3AC20C}" srcId="{B94B4CB8-CBB1-4C49-99FB-AE1DEBB3CC21}" destId="{D02FB789-63C7-4106-B3C0-EC4626CBA163}" srcOrd="1" destOrd="0" parTransId="{E78B0802-4BFD-4108-A29F-3E7ACB33B13D}" sibTransId="{A6F3B58D-C176-4DC4-9198-F07ABD2451C9}"/>
    <dgm:cxn modelId="{CCAF8BE7-E9F5-4001-ABAD-3ABA82B1ED07}" type="presOf" srcId="{B94B4CB8-CBB1-4C49-99FB-AE1DEBB3CC21}" destId="{12BD0511-5105-44DA-A834-5C3CC9976E7B}" srcOrd="0" destOrd="0" presId="urn:microsoft.com/office/officeart/2005/8/layout/venn3"/>
    <dgm:cxn modelId="{783BE677-2601-4703-BA68-B9AB7B78D8CD}" type="presParOf" srcId="{12BD0511-5105-44DA-A834-5C3CC9976E7B}" destId="{EF532DBC-9E98-497E-986F-1912179037C5}" srcOrd="0" destOrd="0" presId="urn:microsoft.com/office/officeart/2005/8/layout/venn3"/>
    <dgm:cxn modelId="{AE839F5B-C2F9-48F0-BF60-1E16AE37F80E}" type="presParOf" srcId="{12BD0511-5105-44DA-A834-5C3CC9976E7B}" destId="{93061758-F769-4F02-BB5A-821A5F227C70}" srcOrd="1" destOrd="0" presId="urn:microsoft.com/office/officeart/2005/8/layout/venn3"/>
    <dgm:cxn modelId="{2CEC7F64-8A80-410B-8EC6-DF8A4B307E83}" type="presParOf" srcId="{12BD0511-5105-44DA-A834-5C3CC9976E7B}" destId="{F51AB7F1-96CF-4866-8CDB-54F378C2AEB6}" srcOrd="2" destOrd="0" presId="urn:microsoft.com/office/officeart/2005/8/layout/venn3"/>
    <dgm:cxn modelId="{3068C968-C512-42EF-BC97-44BC91AAA0C4}" type="presParOf" srcId="{12BD0511-5105-44DA-A834-5C3CC9976E7B}" destId="{D20EEA97-3146-415F-A17B-BBBCE446DD1C}" srcOrd="3" destOrd="0" presId="urn:microsoft.com/office/officeart/2005/8/layout/venn3"/>
    <dgm:cxn modelId="{F8B39923-9BA4-4EC2-86C8-7A4000C2BE0E}" type="presParOf" srcId="{12BD0511-5105-44DA-A834-5C3CC9976E7B}" destId="{7559D296-669B-4078-B3E6-CE2EE71EA6FC}" srcOrd="4" destOrd="0" presId="urn:microsoft.com/office/officeart/2005/8/layout/venn3"/>
    <dgm:cxn modelId="{D2855A83-4E09-4206-8572-366AA1BB4F87}" type="presParOf" srcId="{12BD0511-5105-44DA-A834-5C3CC9976E7B}" destId="{6D8B694F-3E9F-4163-809D-0003C25753B7}" srcOrd="5" destOrd="0" presId="urn:microsoft.com/office/officeart/2005/8/layout/venn3"/>
    <dgm:cxn modelId="{12E64712-04AD-4A03-9B3F-04B47FBB6002}" type="presParOf" srcId="{12BD0511-5105-44DA-A834-5C3CC9976E7B}" destId="{55F2D30D-5558-4A71-A60E-D399E1E44DE7}" srcOrd="6" destOrd="0" presId="urn:microsoft.com/office/officeart/2005/8/layout/venn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095C28BA-406E-4561-B8BC-498ADABDC0D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ECDBFA1-EF7D-461E-9D63-92FC34B5DDAB}">
      <dgm:prSet phldrT="[文字]" custT="1"/>
      <dgm:spPr>
        <a:solidFill>
          <a:srgbClr val="002060"/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國小社會</a:t>
          </a:r>
        </a:p>
      </dgm:t>
    </dgm:pt>
    <dgm:pt modelId="{3E33EC6A-60D2-4BBC-B616-D57BC33A7B6B}" type="parTrans" cxnId="{67C158B2-121F-4860-96B7-CD8F728CDAF8}">
      <dgm:prSet/>
      <dgm:spPr/>
      <dgm:t>
        <a:bodyPr/>
        <a:lstStyle/>
        <a:p>
          <a:endParaRPr lang="zh-TW" altLang="en-US"/>
        </a:p>
      </dgm:t>
    </dgm:pt>
    <dgm:pt modelId="{2B295AAF-EBCC-4FDB-B40E-37DDCF1B3D62}" type="sibTrans" cxnId="{67C158B2-121F-4860-96B7-CD8F728CDAF8}">
      <dgm:prSet/>
      <dgm:spPr/>
      <dgm:t>
        <a:bodyPr/>
        <a:lstStyle/>
        <a:p>
          <a:endParaRPr lang="zh-TW" altLang="en-US"/>
        </a:p>
      </dgm:t>
    </dgm:pt>
    <dgm:pt modelId="{A7D13E5D-DA28-4AF6-A0C2-74E219215308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歷史</a:t>
          </a:r>
        </a:p>
      </dgm:t>
    </dgm:pt>
    <dgm:pt modelId="{F5D9EE8C-1139-435B-95EF-CE25E7202D96}" type="parTrans" cxnId="{8E523374-9F2F-4543-9B4D-A5D30EEBF802}">
      <dgm:prSet/>
      <dgm:spPr/>
      <dgm:t>
        <a:bodyPr/>
        <a:lstStyle/>
        <a:p>
          <a:endParaRPr lang="zh-TW" altLang="en-US"/>
        </a:p>
      </dgm:t>
    </dgm:pt>
    <dgm:pt modelId="{E56C9457-CCF6-4AF7-8F5F-1B2A003C910E}" type="sibTrans" cxnId="{8E523374-9F2F-4543-9B4D-A5D30EEBF802}">
      <dgm:prSet/>
      <dgm:spPr/>
      <dgm:t>
        <a:bodyPr/>
        <a:lstStyle/>
        <a:p>
          <a:endParaRPr lang="zh-TW" altLang="en-US"/>
        </a:p>
      </dgm:t>
    </dgm:pt>
    <dgm:pt modelId="{133EF22E-82E5-4AA6-95B3-C413AE9C5E3E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地理</a:t>
          </a:r>
        </a:p>
      </dgm:t>
    </dgm:pt>
    <dgm:pt modelId="{8738B6EE-6FEB-44CB-898E-6C08195717FD}" type="parTrans" cxnId="{3E4FDD84-58E7-41DB-B066-425E9A223CC1}">
      <dgm:prSet/>
      <dgm:spPr/>
      <dgm:t>
        <a:bodyPr/>
        <a:lstStyle/>
        <a:p>
          <a:endParaRPr lang="zh-TW" altLang="en-US"/>
        </a:p>
      </dgm:t>
    </dgm:pt>
    <dgm:pt modelId="{47305C62-5638-438F-AD90-0F8FE6A7E43F}" type="sibTrans" cxnId="{3E4FDD84-58E7-41DB-B066-425E9A223CC1}">
      <dgm:prSet/>
      <dgm:spPr/>
      <dgm:t>
        <a:bodyPr/>
        <a:lstStyle/>
        <a:p>
          <a:endParaRPr lang="zh-TW" altLang="en-US"/>
        </a:p>
      </dgm:t>
    </dgm:pt>
    <dgm:pt modelId="{E2484C15-0B2F-4CFD-A601-FE9CD4F06C96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公民與社會</a:t>
          </a:r>
        </a:p>
      </dgm:t>
    </dgm:pt>
    <dgm:pt modelId="{F2EF54B8-6B3E-462C-8ED9-EF077DF4235B}" type="parTrans" cxnId="{308AC3CA-E9A6-4BDF-B74E-4E8632A8C58A}">
      <dgm:prSet/>
      <dgm:spPr/>
      <dgm:t>
        <a:bodyPr/>
        <a:lstStyle/>
        <a:p>
          <a:endParaRPr lang="zh-TW" altLang="en-US"/>
        </a:p>
      </dgm:t>
    </dgm:pt>
    <dgm:pt modelId="{1C3EA6C9-3500-4497-8C15-53E54F11797A}" type="sibTrans" cxnId="{308AC3CA-E9A6-4BDF-B74E-4E8632A8C58A}">
      <dgm:prSet/>
      <dgm:spPr/>
      <dgm:t>
        <a:bodyPr/>
        <a:lstStyle/>
        <a:p>
          <a:endParaRPr lang="zh-TW" altLang="en-US"/>
        </a:p>
      </dgm:t>
    </dgm:pt>
    <dgm:pt modelId="{34C03574-4681-4C05-B424-279561AA2530}" type="pres">
      <dgm:prSet presAssocID="{095C28BA-406E-4561-B8BC-498ADABDC0D5}" presName="Name0" presStyleCnt="0">
        <dgm:presLayoutVars>
          <dgm:dir/>
          <dgm:animLvl val="lvl"/>
          <dgm:resizeHandles val="exact"/>
        </dgm:presLayoutVars>
      </dgm:prSet>
      <dgm:spPr/>
    </dgm:pt>
    <dgm:pt modelId="{B861AB80-29D4-47A4-956C-7201E6448AEA}" type="pres">
      <dgm:prSet presAssocID="{BECDBFA1-EF7D-461E-9D63-92FC34B5DDA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4C54B3C6-E2F1-4089-BC0B-71BBBA8001DF}" type="pres">
      <dgm:prSet presAssocID="{2B295AAF-EBCC-4FDB-B40E-37DDCF1B3D62}" presName="parTxOnlySpace" presStyleCnt="0"/>
      <dgm:spPr/>
    </dgm:pt>
    <dgm:pt modelId="{B6EE1DFF-800C-4A7E-A5B3-B2A8664B6FB9}" type="pres">
      <dgm:prSet presAssocID="{A7D13E5D-DA28-4AF6-A0C2-74E219215308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273BA95-392E-4CDB-B7FD-FA73BF4E99C0}" type="pres">
      <dgm:prSet presAssocID="{E56C9457-CCF6-4AF7-8F5F-1B2A003C910E}" presName="parTxOnlySpace" presStyleCnt="0"/>
      <dgm:spPr/>
    </dgm:pt>
    <dgm:pt modelId="{5FB8DA8F-99A9-4822-8B47-9317B56FA977}" type="pres">
      <dgm:prSet presAssocID="{133EF22E-82E5-4AA6-95B3-C413AE9C5E3E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E24D931-9E68-43B4-9138-1B7A555CFC76}" type="pres">
      <dgm:prSet presAssocID="{47305C62-5638-438F-AD90-0F8FE6A7E43F}" presName="parTxOnlySpace" presStyleCnt="0"/>
      <dgm:spPr/>
    </dgm:pt>
    <dgm:pt modelId="{23C7B257-B1D5-43F5-AC4E-858CCCD23FD7}" type="pres">
      <dgm:prSet presAssocID="{E2484C15-0B2F-4CFD-A601-FE9CD4F06C96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99842E2F-0AEB-4477-9B46-E19C9D5BFBF3}" type="presOf" srcId="{133EF22E-82E5-4AA6-95B3-C413AE9C5E3E}" destId="{5FB8DA8F-99A9-4822-8B47-9317B56FA977}" srcOrd="0" destOrd="0" presId="urn:microsoft.com/office/officeart/2005/8/layout/chevron1"/>
    <dgm:cxn modelId="{06C8B249-E90F-4812-9A7E-226C39CA6D56}" type="presOf" srcId="{BECDBFA1-EF7D-461E-9D63-92FC34B5DDAB}" destId="{B861AB80-29D4-47A4-956C-7201E6448AEA}" srcOrd="0" destOrd="0" presId="urn:microsoft.com/office/officeart/2005/8/layout/chevron1"/>
    <dgm:cxn modelId="{8E523374-9F2F-4543-9B4D-A5D30EEBF802}" srcId="{095C28BA-406E-4561-B8BC-498ADABDC0D5}" destId="{A7D13E5D-DA28-4AF6-A0C2-74E219215308}" srcOrd="1" destOrd="0" parTransId="{F5D9EE8C-1139-435B-95EF-CE25E7202D96}" sibTransId="{E56C9457-CCF6-4AF7-8F5F-1B2A003C910E}"/>
    <dgm:cxn modelId="{3E4FDD84-58E7-41DB-B066-425E9A223CC1}" srcId="{095C28BA-406E-4561-B8BC-498ADABDC0D5}" destId="{133EF22E-82E5-4AA6-95B3-C413AE9C5E3E}" srcOrd="2" destOrd="0" parTransId="{8738B6EE-6FEB-44CB-898E-6C08195717FD}" sibTransId="{47305C62-5638-438F-AD90-0F8FE6A7E43F}"/>
    <dgm:cxn modelId="{67C158B2-121F-4860-96B7-CD8F728CDAF8}" srcId="{095C28BA-406E-4561-B8BC-498ADABDC0D5}" destId="{BECDBFA1-EF7D-461E-9D63-92FC34B5DDAB}" srcOrd="0" destOrd="0" parTransId="{3E33EC6A-60D2-4BBC-B616-D57BC33A7B6B}" sibTransId="{2B295AAF-EBCC-4FDB-B40E-37DDCF1B3D62}"/>
    <dgm:cxn modelId="{308AC3CA-E9A6-4BDF-B74E-4E8632A8C58A}" srcId="{095C28BA-406E-4561-B8BC-498ADABDC0D5}" destId="{E2484C15-0B2F-4CFD-A601-FE9CD4F06C96}" srcOrd="3" destOrd="0" parTransId="{F2EF54B8-6B3E-462C-8ED9-EF077DF4235B}" sibTransId="{1C3EA6C9-3500-4497-8C15-53E54F11797A}"/>
    <dgm:cxn modelId="{8A8D4DCD-210A-4214-AEDD-45C34541AA37}" type="presOf" srcId="{095C28BA-406E-4561-B8BC-498ADABDC0D5}" destId="{34C03574-4681-4C05-B424-279561AA2530}" srcOrd="0" destOrd="0" presId="urn:microsoft.com/office/officeart/2005/8/layout/chevron1"/>
    <dgm:cxn modelId="{F1A308D6-A0AF-4728-B48A-FC7EE707E8E4}" type="presOf" srcId="{A7D13E5D-DA28-4AF6-A0C2-74E219215308}" destId="{B6EE1DFF-800C-4A7E-A5B3-B2A8664B6FB9}" srcOrd="0" destOrd="0" presId="urn:microsoft.com/office/officeart/2005/8/layout/chevron1"/>
    <dgm:cxn modelId="{85D4A9EA-F769-4B6F-A028-EBE18E05320F}" type="presOf" srcId="{E2484C15-0B2F-4CFD-A601-FE9CD4F06C96}" destId="{23C7B257-B1D5-43F5-AC4E-858CCCD23FD7}" srcOrd="0" destOrd="0" presId="urn:microsoft.com/office/officeart/2005/8/layout/chevron1"/>
    <dgm:cxn modelId="{D777A5E0-B28A-4CA4-B893-4AF89F89B7F5}" type="presParOf" srcId="{34C03574-4681-4C05-B424-279561AA2530}" destId="{B861AB80-29D4-47A4-956C-7201E6448AEA}" srcOrd="0" destOrd="0" presId="urn:microsoft.com/office/officeart/2005/8/layout/chevron1"/>
    <dgm:cxn modelId="{6447508B-14F9-47DC-8361-F81E54EE2007}" type="presParOf" srcId="{34C03574-4681-4C05-B424-279561AA2530}" destId="{4C54B3C6-E2F1-4089-BC0B-71BBBA8001DF}" srcOrd="1" destOrd="0" presId="urn:microsoft.com/office/officeart/2005/8/layout/chevron1"/>
    <dgm:cxn modelId="{1482C04C-A190-4236-B292-5ECFF2A88CC3}" type="presParOf" srcId="{34C03574-4681-4C05-B424-279561AA2530}" destId="{B6EE1DFF-800C-4A7E-A5B3-B2A8664B6FB9}" srcOrd="2" destOrd="0" presId="urn:microsoft.com/office/officeart/2005/8/layout/chevron1"/>
    <dgm:cxn modelId="{4C321B96-A617-458E-BA6C-3435D952EDA1}" type="presParOf" srcId="{34C03574-4681-4C05-B424-279561AA2530}" destId="{2273BA95-392E-4CDB-B7FD-FA73BF4E99C0}" srcOrd="3" destOrd="0" presId="urn:microsoft.com/office/officeart/2005/8/layout/chevron1"/>
    <dgm:cxn modelId="{D5AE3B6F-E652-4D1A-8E0C-FC332AD1600F}" type="presParOf" srcId="{34C03574-4681-4C05-B424-279561AA2530}" destId="{5FB8DA8F-99A9-4822-8B47-9317B56FA977}" srcOrd="4" destOrd="0" presId="urn:microsoft.com/office/officeart/2005/8/layout/chevron1"/>
    <dgm:cxn modelId="{9F568D54-DD15-4E5B-A218-D3D7F2DAF543}" type="presParOf" srcId="{34C03574-4681-4C05-B424-279561AA2530}" destId="{9E24D931-9E68-43B4-9138-1B7A555CFC76}" srcOrd="5" destOrd="0" presId="urn:microsoft.com/office/officeart/2005/8/layout/chevron1"/>
    <dgm:cxn modelId="{F91010EF-3F82-43A5-AAE0-BA05841B409F}" type="presParOf" srcId="{34C03574-4681-4C05-B424-279561AA2530}" destId="{23C7B257-B1D5-43F5-AC4E-858CCCD23FD7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095C28BA-406E-4561-B8BC-498ADABDC0D5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BECDBFA1-EF7D-461E-9D63-92FC34B5DDAB}">
      <dgm:prSet phldrT="[文字]" custT="1"/>
      <dgm:spPr>
        <a:solidFill>
          <a:srgbClr val="002060"/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國小社會</a:t>
          </a:r>
        </a:p>
      </dgm:t>
    </dgm:pt>
    <dgm:pt modelId="{3E33EC6A-60D2-4BBC-B616-D57BC33A7B6B}" type="parTrans" cxnId="{67C158B2-121F-4860-96B7-CD8F728CDAF8}">
      <dgm:prSet/>
      <dgm:spPr/>
      <dgm:t>
        <a:bodyPr/>
        <a:lstStyle/>
        <a:p>
          <a:endParaRPr lang="zh-TW" altLang="en-US"/>
        </a:p>
      </dgm:t>
    </dgm:pt>
    <dgm:pt modelId="{2B295AAF-EBCC-4FDB-B40E-37DDCF1B3D62}" type="sibTrans" cxnId="{67C158B2-121F-4860-96B7-CD8F728CDAF8}">
      <dgm:prSet/>
      <dgm:spPr/>
      <dgm:t>
        <a:bodyPr/>
        <a:lstStyle/>
        <a:p>
          <a:endParaRPr lang="zh-TW" altLang="en-US"/>
        </a:p>
      </dgm:t>
    </dgm:pt>
    <dgm:pt modelId="{A7D13E5D-DA28-4AF6-A0C2-74E219215308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歷史</a:t>
          </a:r>
        </a:p>
      </dgm:t>
    </dgm:pt>
    <dgm:pt modelId="{F5D9EE8C-1139-435B-95EF-CE25E7202D96}" type="parTrans" cxnId="{8E523374-9F2F-4543-9B4D-A5D30EEBF802}">
      <dgm:prSet/>
      <dgm:spPr/>
      <dgm:t>
        <a:bodyPr/>
        <a:lstStyle/>
        <a:p>
          <a:endParaRPr lang="zh-TW" altLang="en-US"/>
        </a:p>
      </dgm:t>
    </dgm:pt>
    <dgm:pt modelId="{E56C9457-CCF6-4AF7-8F5F-1B2A003C910E}" type="sibTrans" cxnId="{8E523374-9F2F-4543-9B4D-A5D30EEBF802}">
      <dgm:prSet/>
      <dgm:spPr/>
      <dgm:t>
        <a:bodyPr/>
        <a:lstStyle/>
        <a:p>
          <a:endParaRPr lang="zh-TW" altLang="en-US"/>
        </a:p>
      </dgm:t>
    </dgm:pt>
    <dgm:pt modelId="{133EF22E-82E5-4AA6-95B3-C413AE9C5E3E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地理</a:t>
          </a:r>
        </a:p>
      </dgm:t>
    </dgm:pt>
    <dgm:pt modelId="{8738B6EE-6FEB-44CB-898E-6C08195717FD}" type="parTrans" cxnId="{3E4FDD84-58E7-41DB-B066-425E9A223CC1}">
      <dgm:prSet/>
      <dgm:spPr/>
      <dgm:t>
        <a:bodyPr/>
        <a:lstStyle/>
        <a:p>
          <a:endParaRPr lang="zh-TW" altLang="en-US"/>
        </a:p>
      </dgm:t>
    </dgm:pt>
    <dgm:pt modelId="{47305C62-5638-438F-AD90-0F8FE6A7E43F}" type="sibTrans" cxnId="{3E4FDD84-58E7-41DB-B066-425E9A223CC1}">
      <dgm:prSet/>
      <dgm:spPr/>
      <dgm:t>
        <a:bodyPr/>
        <a:lstStyle/>
        <a:p>
          <a:endParaRPr lang="zh-TW" altLang="en-US"/>
        </a:p>
      </dgm:t>
    </dgm:pt>
    <dgm:pt modelId="{E2484C15-0B2F-4CFD-A601-FE9CD4F06C96}">
      <dgm:prSet phldrT="[文字]"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r>
            <a:rPr lang="zh-TW" altLang="en-US" sz="2400" b="1" dirty="0">
              <a:latin typeface="標楷體" panose="03000509000000000000" pitchFamily="65" charset="-120"/>
              <a:ea typeface="標楷體" panose="03000509000000000000" pitchFamily="65" charset="-120"/>
            </a:rPr>
            <a:t>公民與社會</a:t>
          </a:r>
        </a:p>
      </dgm:t>
    </dgm:pt>
    <dgm:pt modelId="{F2EF54B8-6B3E-462C-8ED9-EF077DF4235B}" type="parTrans" cxnId="{308AC3CA-E9A6-4BDF-B74E-4E8632A8C58A}">
      <dgm:prSet/>
      <dgm:spPr/>
      <dgm:t>
        <a:bodyPr/>
        <a:lstStyle/>
        <a:p>
          <a:endParaRPr lang="zh-TW" altLang="en-US"/>
        </a:p>
      </dgm:t>
    </dgm:pt>
    <dgm:pt modelId="{1C3EA6C9-3500-4497-8C15-53E54F11797A}" type="sibTrans" cxnId="{308AC3CA-E9A6-4BDF-B74E-4E8632A8C58A}">
      <dgm:prSet/>
      <dgm:spPr/>
      <dgm:t>
        <a:bodyPr/>
        <a:lstStyle/>
        <a:p>
          <a:endParaRPr lang="zh-TW" altLang="en-US"/>
        </a:p>
      </dgm:t>
    </dgm:pt>
    <dgm:pt modelId="{34C03574-4681-4C05-B424-279561AA2530}" type="pres">
      <dgm:prSet presAssocID="{095C28BA-406E-4561-B8BC-498ADABDC0D5}" presName="Name0" presStyleCnt="0">
        <dgm:presLayoutVars>
          <dgm:dir/>
          <dgm:animLvl val="lvl"/>
          <dgm:resizeHandles val="exact"/>
        </dgm:presLayoutVars>
      </dgm:prSet>
      <dgm:spPr/>
    </dgm:pt>
    <dgm:pt modelId="{B861AB80-29D4-47A4-956C-7201E6448AEA}" type="pres">
      <dgm:prSet presAssocID="{BECDBFA1-EF7D-461E-9D63-92FC34B5DDAB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4C54B3C6-E2F1-4089-BC0B-71BBBA8001DF}" type="pres">
      <dgm:prSet presAssocID="{2B295AAF-EBCC-4FDB-B40E-37DDCF1B3D62}" presName="parTxOnlySpace" presStyleCnt="0"/>
      <dgm:spPr/>
    </dgm:pt>
    <dgm:pt modelId="{B6EE1DFF-800C-4A7E-A5B3-B2A8664B6FB9}" type="pres">
      <dgm:prSet presAssocID="{A7D13E5D-DA28-4AF6-A0C2-74E219215308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2273BA95-392E-4CDB-B7FD-FA73BF4E99C0}" type="pres">
      <dgm:prSet presAssocID="{E56C9457-CCF6-4AF7-8F5F-1B2A003C910E}" presName="parTxOnlySpace" presStyleCnt="0"/>
      <dgm:spPr/>
    </dgm:pt>
    <dgm:pt modelId="{5FB8DA8F-99A9-4822-8B47-9317B56FA977}" type="pres">
      <dgm:prSet presAssocID="{133EF22E-82E5-4AA6-95B3-C413AE9C5E3E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9E24D931-9E68-43B4-9138-1B7A555CFC76}" type="pres">
      <dgm:prSet presAssocID="{47305C62-5638-438F-AD90-0F8FE6A7E43F}" presName="parTxOnlySpace" presStyleCnt="0"/>
      <dgm:spPr/>
    </dgm:pt>
    <dgm:pt modelId="{23C7B257-B1D5-43F5-AC4E-858CCCD23FD7}" type="pres">
      <dgm:prSet presAssocID="{E2484C15-0B2F-4CFD-A601-FE9CD4F06C96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AA869116-3CFF-49F3-9CFF-CE4B072F39A4}" type="presOf" srcId="{095C28BA-406E-4561-B8BC-498ADABDC0D5}" destId="{34C03574-4681-4C05-B424-279561AA2530}" srcOrd="0" destOrd="0" presId="urn:microsoft.com/office/officeart/2005/8/layout/chevron1"/>
    <dgm:cxn modelId="{706C1319-50A2-48E8-BEB7-3C50A7B4B3DA}" type="presOf" srcId="{BECDBFA1-EF7D-461E-9D63-92FC34B5DDAB}" destId="{B861AB80-29D4-47A4-956C-7201E6448AEA}" srcOrd="0" destOrd="0" presId="urn:microsoft.com/office/officeart/2005/8/layout/chevron1"/>
    <dgm:cxn modelId="{095C7419-92B1-4FBD-8BB9-5E2C1FFF723F}" type="presOf" srcId="{E2484C15-0B2F-4CFD-A601-FE9CD4F06C96}" destId="{23C7B257-B1D5-43F5-AC4E-858CCCD23FD7}" srcOrd="0" destOrd="0" presId="urn:microsoft.com/office/officeart/2005/8/layout/chevron1"/>
    <dgm:cxn modelId="{8E523374-9F2F-4543-9B4D-A5D30EEBF802}" srcId="{095C28BA-406E-4561-B8BC-498ADABDC0D5}" destId="{A7D13E5D-DA28-4AF6-A0C2-74E219215308}" srcOrd="1" destOrd="0" parTransId="{F5D9EE8C-1139-435B-95EF-CE25E7202D96}" sibTransId="{E56C9457-CCF6-4AF7-8F5F-1B2A003C910E}"/>
    <dgm:cxn modelId="{3E4FDD84-58E7-41DB-B066-425E9A223CC1}" srcId="{095C28BA-406E-4561-B8BC-498ADABDC0D5}" destId="{133EF22E-82E5-4AA6-95B3-C413AE9C5E3E}" srcOrd="2" destOrd="0" parTransId="{8738B6EE-6FEB-44CB-898E-6C08195717FD}" sibTransId="{47305C62-5638-438F-AD90-0F8FE6A7E43F}"/>
    <dgm:cxn modelId="{22A4C3A7-9BBF-42D0-880B-74943F6E1621}" type="presOf" srcId="{A7D13E5D-DA28-4AF6-A0C2-74E219215308}" destId="{B6EE1DFF-800C-4A7E-A5B3-B2A8664B6FB9}" srcOrd="0" destOrd="0" presId="urn:microsoft.com/office/officeart/2005/8/layout/chevron1"/>
    <dgm:cxn modelId="{71A7D8A7-F0CB-4858-8388-6E999CB73B27}" type="presOf" srcId="{133EF22E-82E5-4AA6-95B3-C413AE9C5E3E}" destId="{5FB8DA8F-99A9-4822-8B47-9317B56FA977}" srcOrd="0" destOrd="0" presId="urn:microsoft.com/office/officeart/2005/8/layout/chevron1"/>
    <dgm:cxn modelId="{67C158B2-121F-4860-96B7-CD8F728CDAF8}" srcId="{095C28BA-406E-4561-B8BC-498ADABDC0D5}" destId="{BECDBFA1-EF7D-461E-9D63-92FC34B5DDAB}" srcOrd="0" destOrd="0" parTransId="{3E33EC6A-60D2-4BBC-B616-D57BC33A7B6B}" sibTransId="{2B295AAF-EBCC-4FDB-B40E-37DDCF1B3D62}"/>
    <dgm:cxn modelId="{308AC3CA-E9A6-4BDF-B74E-4E8632A8C58A}" srcId="{095C28BA-406E-4561-B8BC-498ADABDC0D5}" destId="{E2484C15-0B2F-4CFD-A601-FE9CD4F06C96}" srcOrd="3" destOrd="0" parTransId="{F2EF54B8-6B3E-462C-8ED9-EF077DF4235B}" sibTransId="{1C3EA6C9-3500-4497-8C15-53E54F11797A}"/>
    <dgm:cxn modelId="{65EAC7AA-1FA3-4577-BF10-3B1D96791756}" type="presParOf" srcId="{34C03574-4681-4C05-B424-279561AA2530}" destId="{B861AB80-29D4-47A4-956C-7201E6448AEA}" srcOrd="0" destOrd="0" presId="urn:microsoft.com/office/officeart/2005/8/layout/chevron1"/>
    <dgm:cxn modelId="{5108C491-F130-4C6B-B01C-46AC0545B6D5}" type="presParOf" srcId="{34C03574-4681-4C05-B424-279561AA2530}" destId="{4C54B3C6-E2F1-4089-BC0B-71BBBA8001DF}" srcOrd="1" destOrd="0" presId="urn:microsoft.com/office/officeart/2005/8/layout/chevron1"/>
    <dgm:cxn modelId="{0347151D-F9F2-4C49-99A0-250C60F28E63}" type="presParOf" srcId="{34C03574-4681-4C05-B424-279561AA2530}" destId="{B6EE1DFF-800C-4A7E-A5B3-B2A8664B6FB9}" srcOrd="2" destOrd="0" presId="urn:microsoft.com/office/officeart/2005/8/layout/chevron1"/>
    <dgm:cxn modelId="{777148B9-0456-432F-B944-F0A6E7419C16}" type="presParOf" srcId="{34C03574-4681-4C05-B424-279561AA2530}" destId="{2273BA95-392E-4CDB-B7FD-FA73BF4E99C0}" srcOrd="3" destOrd="0" presId="urn:microsoft.com/office/officeart/2005/8/layout/chevron1"/>
    <dgm:cxn modelId="{F15068F1-D505-46F8-8E8C-249240D29BED}" type="presParOf" srcId="{34C03574-4681-4C05-B424-279561AA2530}" destId="{5FB8DA8F-99A9-4822-8B47-9317B56FA977}" srcOrd="4" destOrd="0" presId="urn:microsoft.com/office/officeart/2005/8/layout/chevron1"/>
    <dgm:cxn modelId="{05A48FFD-030F-4C54-894A-9B5F4A50CBAB}" type="presParOf" srcId="{34C03574-4681-4C05-B424-279561AA2530}" destId="{9E24D931-9E68-43B4-9138-1B7A555CFC76}" srcOrd="5" destOrd="0" presId="urn:microsoft.com/office/officeart/2005/8/layout/chevron1"/>
    <dgm:cxn modelId="{93DBEC12-ABE5-406B-BBFC-BE5DAFD8AA81}" type="presParOf" srcId="{34C03574-4681-4C05-B424-279561AA2530}" destId="{23C7B257-B1D5-43F5-AC4E-858CCCD23FD7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4327142-CA6F-47F8-A0AF-3A1C6094EB0E}">
      <dsp:nvSpPr>
        <dsp:cNvPr id="0" name=""/>
        <dsp:cNvSpPr/>
      </dsp:nvSpPr>
      <dsp:spPr>
        <a:xfrm>
          <a:off x="182990" y="1563320"/>
          <a:ext cx="8105275" cy="2475184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altLang="zh-TW" sz="2800" b="1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     </a:t>
          </a:r>
          <a:r>
            <a:rPr lang="zh-TW" sz="2800" b="1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「成就每一個孩子—適性揚才、終身學習」</a:t>
          </a:r>
          <a:br>
            <a:rPr lang="en-US" altLang="zh-TW" sz="2800" b="1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</a:br>
          <a:r>
            <a:rPr lang="zh-TW" sz="2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以尊重學生生命主體為起點，透過適性教育，激發學生生命的喜悅與生活的自信，提升學生學習的渴望與創新的勇氣，善盡國民責任並展現共生智慧，成為具有社會適應力與應變力的終身學習者</a:t>
          </a:r>
          <a:endParaRPr lang="zh-TW" altLang="en-US" sz="24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</dsp:txBody>
      <dsp:txXfrm>
        <a:off x="182990" y="1563320"/>
        <a:ext cx="8105275" cy="2475184"/>
      </dsp:txXfrm>
    </dsp:sp>
    <dsp:sp modelId="{B07CEB32-E64A-455C-9879-D89AAD088263}">
      <dsp:nvSpPr>
        <dsp:cNvPr id="0" name=""/>
        <dsp:cNvSpPr/>
      </dsp:nvSpPr>
      <dsp:spPr>
        <a:xfrm>
          <a:off x="230804" y="191521"/>
          <a:ext cx="2336388" cy="1163289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6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6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6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200" b="1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自發</a:t>
          </a:r>
          <a:endParaRPr lang="en-US" altLang="zh-TW" sz="3200" b="1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</dsp:txBody>
      <dsp:txXfrm>
        <a:off x="230804" y="191521"/>
        <a:ext cx="2336388" cy="1163289"/>
      </dsp:txXfrm>
    </dsp:sp>
    <dsp:sp modelId="{CF90D5DA-8C17-44FB-AF78-FCBF43B1E0EB}">
      <dsp:nvSpPr>
        <dsp:cNvPr id="0" name=""/>
        <dsp:cNvSpPr/>
      </dsp:nvSpPr>
      <dsp:spPr>
        <a:xfrm>
          <a:off x="2921070" y="167337"/>
          <a:ext cx="2558842" cy="1240981"/>
        </a:xfrm>
        <a:prstGeom prst="roundRect">
          <a:avLst>
            <a:gd name="adj" fmla="val 10000"/>
          </a:avLst>
        </a:prstGeom>
        <a:solidFill>
          <a:srgbClr val="FFC000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200" b="1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互動</a:t>
          </a:r>
          <a:endParaRPr lang="en-US" altLang="zh-TW" sz="3200" b="1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</dsp:txBody>
      <dsp:txXfrm>
        <a:off x="2921070" y="167337"/>
        <a:ext cx="2558842" cy="1240981"/>
      </dsp:txXfrm>
    </dsp:sp>
    <dsp:sp modelId="{14611A2B-767B-4E4B-B9C1-A9DF36CD909B}">
      <dsp:nvSpPr>
        <dsp:cNvPr id="0" name=""/>
        <dsp:cNvSpPr/>
      </dsp:nvSpPr>
      <dsp:spPr>
        <a:xfrm>
          <a:off x="5945491" y="192864"/>
          <a:ext cx="2231788" cy="128092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200" b="1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共好</a:t>
          </a:r>
          <a:endParaRPr lang="en-US" altLang="zh-TW" sz="3200" b="1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</dsp:txBody>
      <dsp:txXfrm>
        <a:off x="5945491" y="192864"/>
        <a:ext cx="2231788" cy="1280921"/>
      </dsp:txXfrm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61AB80-29D4-47A4-956C-7201E6448AEA}">
      <dsp:nvSpPr>
        <dsp:cNvPr id="0" name=""/>
        <dsp:cNvSpPr/>
      </dsp:nvSpPr>
      <dsp:spPr>
        <a:xfrm>
          <a:off x="4241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國小社會</a:t>
          </a:r>
        </a:p>
      </dsp:txBody>
      <dsp:txXfrm>
        <a:off x="4241" y="0"/>
        <a:ext cx="2469058" cy="620688"/>
      </dsp:txXfrm>
    </dsp:sp>
    <dsp:sp modelId="{B6EE1DFF-800C-4A7E-A5B3-B2A8664B6FB9}">
      <dsp:nvSpPr>
        <dsp:cNvPr id="0" name=""/>
        <dsp:cNvSpPr/>
      </dsp:nvSpPr>
      <dsp:spPr>
        <a:xfrm>
          <a:off x="2226394" y="0"/>
          <a:ext cx="2469058" cy="620688"/>
        </a:xfrm>
        <a:prstGeom prst="chevron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歷史</a:t>
          </a:r>
        </a:p>
      </dsp:txBody>
      <dsp:txXfrm>
        <a:off x="2226394" y="0"/>
        <a:ext cx="2469058" cy="620688"/>
      </dsp:txXfrm>
    </dsp:sp>
    <dsp:sp modelId="{5FB8DA8F-99A9-4822-8B47-9317B56FA977}">
      <dsp:nvSpPr>
        <dsp:cNvPr id="0" name=""/>
        <dsp:cNvSpPr/>
      </dsp:nvSpPr>
      <dsp:spPr>
        <a:xfrm>
          <a:off x="4448547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地理</a:t>
          </a:r>
        </a:p>
      </dsp:txBody>
      <dsp:txXfrm>
        <a:off x="4448547" y="0"/>
        <a:ext cx="2469058" cy="620688"/>
      </dsp:txXfrm>
    </dsp:sp>
    <dsp:sp modelId="{23C7B257-B1D5-43F5-AC4E-858CCCD23FD7}">
      <dsp:nvSpPr>
        <dsp:cNvPr id="0" name=""/>
        <dsp:cNvSpPr/>
      </dsp:nvSpPr>
      <dsp:spPr>
        <a:xfrm>
          <a:off x="6670699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公民與社會</a:t>
          </a:r>
        </a:p>
      </dsp:txBody>
      <dsp:txXfrm>
        <a:off x="6670699" y="0"/>
        <a:ext cx="2469058" cy="620688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61AB80-29D4-47A4-956C-7201E6448AEA}">
      <dsp:nvSpPr>
        <dsp:cNvPr id="0" name=""/>
        <dsp:cNvSpPr/>
      </dsp:nvSpPr>
      <dsp:spPr>
        <a:xfrm>
          <a:off x="4241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國小社會</a:t>
          </a:r>
        </a:p>
      </dsp:txBody>
      <dsp:txXfrm>
        <a:off x="4241" y="0"/>
        <a:ext cx="2469058" cy="620688"/>
      </dsp:txXfrm>
    </dsp:sp>
    <dsp:sp modelId="{B6EE1DFF-800C-4A7E-A5B3-B2A8664B6FB9}">
      <dsp:nvSpPr>
        <dsp:cNvPr id="0" name=""/>
        <dsp:cNvSpPr/>
      </dsp:nvSpPr>
      <dsp:spPr>
        <a:xfrm>
          <a:off x="2226394" y="0"/>
          <a:ext cx="2469058" cy="620688"/>
        </a:xfrm>
        <a:prstGeom prst="chevron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歷史</a:t>
          </a:r>
        </a:p>
      </dsp:txBody>
      <dsp:txXfrm>
        <a:off x="2226394" y="0"/>
        <a:ext cx="2469058" cy="620688"/>
      </dsp:txXfrm>
    </dsp:sp>
    <dsp:sp modelId="{5FB8DA8F-99A9-4822-8B47-9317B56FA977}">
      <dsp:nvSpPr>
        <dsp:cNvPr id="0" name=""/>
        <dsp:cNvSpPr/>
      </dsp:nvSpPr>
      <dsp:spPr>
        <a:xfrm>
          <a:off x="4448547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地理</a:t>
          </a:r>
        </a:p>
      </dsp:txBody>
      <dsp:txXfrm>
        <a:off x="4448547" y="0"/>
        <a:ext cx="2469058" cy="620688"/>
      </dsp:txXfrm>
    </dsp:sp>
    <dsp:sp modelId="{23C7B257-B1D5-43F5-AC4E-858CCCD23FD7}">
      <dsp:nvSpPr>
        <dsp:cNvPr id="0" name=""/>
        <dsp:cNvSpPr/>
      </dsp:nvSpPr>
      <dsp:spPr>
        <a:xfrm>
          <a:off x="6670699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公民與社會</a:t>
          </a:r>
        </a:p>
      </dsp:txBody>
      <dsp:txXfrm>
        <a:off x="6670699" y="0"/>
        <a:ext cx="2469058" cy="620688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61AB80-29D4-47A4-956C-7201E6448AEA}">
      <dsp:nvSpPr>
        <dsp:cNvPr id="0" name=""/>
        <dsp:cNvSpPr/>
      </dsp:nvSpPr>
      <dsp:spPr>
        <a:xfrm>
          <a:off x="4241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國小社會</a:t>
          </a:r>
        </a:p>
      </dsp:txBody>
      <dsp:txXfrm>
        <a:off x="4241" y="0"/>
        <a:ext cx="2469058" cy="620688"/>
      </dsp:txXfrm>
    </dsp:sp>
    <dsp:sp modelId="{B6EE1DFF-800C-4A7E-A5B3-B2A8664B6FB9}">
      <dsp:nvSpPr>
        <dsp:cNvPr id="0" name=""/>
        <dsp:cNvSpPr/>
      </dsp:nvSpPr>
      <dsp:spPr>
        <a:xfrm>
          <a:off x="2226394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歷史</a:t>
          </a:r>
        </a:p>
      </dsp:txBody>
      <dsp:txXfrm>
        <a:off x="2226394" y="0"/>
        <a:ext cx="2469058" cy="620688"/>
      </dsp:txXfrm>
    </dsp:sp>
    <dsp:sp modelId="{5FB8DA8F-99A9-4822-8B47-9317B56FA977}">
      <dsp:nvSpPr>
        <dsp:cNvPr id="0" name=""/>
        <dsp:cNvSpPr/>
      </dsp:nvSpPr>
      <dsp:spPr>
        <a:xfrm>
          <a:off x="4448547" y="0"/>
          <a:ext cx="2469058" cy="620688"/>
        </a:xfrm>
        <a:prstGeom prst="chevron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地理</a:t>
          </a:r>
        </a:p>
      </dsp:txBody>
      <dsp:txXfrm>
        <a:off x="4448547" y="0"/>
        <a:ext cx="2469058" cy="620688"/>
      </dsp:txXfrm>
    </dsp:sp>
    <dsp:sp modelId="{23C7B257-B1D5-43F5-AC4E-858CCCD23FD7}">
      <dsp:nvSpPr>
        <dsp:cNvPr id="0" name=""/>
        <dsp:cNvSpPr/>
      </dsp:nvSpPr>
      <dsp:spPr>
        <a:xfrm>
          <a:off x="6670699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公民與社會</a:t>
          </a:r>
        </a:p>
      </dsp:txBody>
      <dsp:txXfrm>
        <a:off x="6670699" y="0"/>
        <a:ext cx="2469058" cy="620688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F33453-FA6B-DC40-AFE9-9DD572D7EA22}">
      <dsp:nvSpPr>
        <dsp:cNvPr id="0" name=""/>
        <dsp:cNvSpPr/>
      </dsp:nvSpPr>
      <dsp:spPr>
        <a:xfrm>
          <a:off x="1207980" y="0"/>
          <a:ext cx="3774686" cy="3270193"/>
        </a:xfrm>
        <a:prstGeom prst="ellipse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satMod val="103000"/>
                <a:lumMod val="102000"/>
                <a:tint val="94000"/>
                <a:alpha val="54000"/>
              </a:schemeClr>
            </a:gs>
            <a:gs pos="50000">
              <a:schemeClr val="accent4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000" b="1" kern="1200" dirty="0">
              <a:solidFill>
                <a:schemeClr val="tx1"/>
              </a:solidFill>
              <a:latin typeface="標楷體" panose="03000509000000000000" pitchFamily="65" charset="-120"/>
              <a:ea typeface="標楷體" panose="03000509000000000000" pitchFamily="65" charset="-120"/>
              <a:cs typeface="Kaiti TC" charset="-120"/>
            </a:rPr>
            <a:t>地理視野</a:t>
          </a:r>
        </a:p>
      </dsp:txBody>
      <dsp:txXfrm>
        <a:off x="2435697" y="163509"/>
        <a:ext cx="1319253" cy="490529"/>
      </dsp:txXfrm>
    </dsp:sp>
    <dsp:sp modelId="{56B11B1E-FDB4-CC45-AA8B-C75FBF736A1A}">
      <dsp:nvSpPr>
        <dsp:cNvPr id="0" name=""/>
        <dsp:cNvSpPr/>
      </dsp:nvSpPr>
      <dsp:spPr>
        <a:xfrm>
          <a:off x="1674432" y="817548"/>
          <a:ext cx="2841782" cy="2452645"/>
        </a:xfrm>
        <a:prstGeom prst="ellipse">
          <a:avLst/>
        </a:prstGeom>
        <a:gradFill rotWithShape="0">
          <a:gsLst>
            <a:gs pos="0">
              <a:schemeClr val="accent4">
                <a:hueOff val="5197846"/>
                <a:satOff val="-23984"/>
                <a:lumOff val="883"/>
                <a:satMod val="103000"/>
                <a:lumMod val="102000"/>
                <a:tint val="94000"/>
                <a:alpha val="58000"/>
              </a:schemeClr>
            </a:gs>
            <a:gs pos="50000">
              <a:schemeClr val="accent4">
                <a:hueOff val="5197846"/>
                <a:satOff val="-23984"/>
                <a:lumOff val="88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5197846"/>
                <a:satOff val="-23984"/>
                <a:lumOff val="88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000" b="1" kern="1200" dirty="0">
              <a:solidFill>
                <a:schemeClr val="tx1"/>
              </a:solidFill>
              <a:latin typeface="標楷體" panose="03000509000000000000" pitchFamily="65" charset="-120"/>
              <a:ea typeface="標楷體" panose="03000509000000000000" pitchFamily="65" charset="-120"/>
              <a:cs typeface="Kaiti TC" charset="-120"/>
            </a:rPr>
            <a:t>地理系統</a:t>
          </a:r>
        </a:p>
      </dsp:txBody>
      <dsp:txXfrm>
        <a:off x="2433188" y="970838"/>
        <a:ext cx="1324270" cy="459871"/>
      </dsp:txXfrm>
    </dsp:sp>
    <dsp:sp modelId="{2D77E7E9-39A8-4B45-AA2F-54D7A68D38F7}">
      <dsp:nvSpPr>
        <dsp:cNvPr id="0" name=""/>
        <dsp:cNvSpPr/>
      </dsp:nvSpPr>
      <dsp:spPr>
        <a:xfrm>
          <a:off x="2186430" y="1595887"/>
          <a:ext cx="1865335" cy="1635096"/>
        </a:xfrm>
        <a:prstGeom prst="ellipse">
          <a:avLst/>
        </a:prstGeom>
        <a:gradFill rotWithShape="0">
          <a:gsLst>
            <a:gs pos="0">
              <a:schemeClr val="accent1">
                <a:lumMod val="40000"/>
                <a:lumOff val="60000"/>
              </a:schemeClr>
            </a:gs>
            <a:gs pos="50000">
              <a:schemeClr val="accent4">
                <a:hueOff val="10395692"/>
                <a:satOff val="-47968"/>
                <a:lumOff val="176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4">
                <a:hueOff val="10395692"/>
                <a:satOff val="-47968"/>
                <a:lumOff val="176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000" b="1" kern="1200" dirty="0">
              <a:solidFill>
                <a:schemeClr val="bg1"/>
              </a:solidFill>
              <a:latin typeface="標楷體" panose="03000509000000000000" pitchFamily="65" charset="-120"/>
              <a:ea typeface="標楷體" panose="03000509000000000000" pitchFamily="65" charset="-120"/>
              <a:cs typeface="Kaiti TC" charset="-120"/>
            </a:rPr>
            <a:t>地理技能</a:t>
          </a:r>
        </a:p>
      </dsp:txBody>
      <dsp:txXfrm>
        <a:off x="2459602" y="2004661"/>
        <a:ext cx="1318991" cy="817548"/>
      </dsp:txXfrm>
    </dsp:sp>
  </dsp:spTree>
</dsp:drawing>
</file>

<file path=ppt/diagrams/drawing1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E4AB8F-B5D0-C84A-A57F-4485E7DEAA3C}">
      <dsp:nvSpPr>
        <dsp:cNvPr id="0" name=""/>
        <dsp:cNvSpPr/>
      </dsp:nvSpPr>
      <dsp:spPr>
        <a:xfrm>
          <a:off x="0" y="150473"/>
          <a:ext cx="2206534" cy="505440"/>
        </a:xfrm>
        <a:prstGeom prst="roundRect">
          <a:avLst/>
        </a:prstGeom>
        <a:gradFill rotWithShape="0">
          <a:gsLst>
            <a:gs pos="0">
              <a:schemeClr val="bg1"/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000" b="1" kern="1200" dirty="0">
              <a:solidFill>
                <a:schemeClr val="bg1"/>
              </a:solidFill>
              <a:latin typeface="標楷體" panose="03000509000000000000" pitchFamily="65" charset="-120"/>
              <a:ea typeface="標楷體" panose="03000509000000000000" pitchFamily="65" charset="-120"/>
              <a:cs typeface="Heiti TC Light" charset="-120"/>
            </a:rPr>
            <a:t>學科方法</a:t>
          </a:r>
        </a:p>
      </dsp:txBody>
      <dsp:txXfrm>
        <a:off x="0" y="150473"/>
        <a:ext cx="2206534" cy="505440"/>
      </dsp:txXfrm>
    </dsp:sp>
    <dsp:sp modelId="{0A038112-84DE-BB4D-A07B-E63FDCE13779}">
      <dsp:nvSpPr>
        <dsp:cNvPr id="0" name=""/>
        <dsp:cNvSpPr/>
      </dsp:nvSpPr>
      <dsp:spPr>
        <a:xfrm>
          <a:off x="0" y="662642"/>
          <a:ext cx="2206534" cy="4471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057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zh-TW" altLang="en-US" sz="2100" kern="1200" dirty="0">
              <a:latin typeface="標楷體" charset="-120"/>
              <a:ea typeface="標楷體" charset="-120"/>
            </a:rPr>
            <a:t>空間資訊科技</a:t>
          </a:r>
        </a:p>
      </dsp:txBody>
      <dsp:txXfrm>
        <a:off x="0" y="662642"/>
        <a:ext cx="2206534" cy="447120"/>
      </dsp:txXfrm>
    </dsp:sp>
    <dsp:sp modelId="{5CF87C5C-5341-8341-9930-50CD9D39058C}">
      <dsp:nvSpPr>
        <dsp:cNvPr id="0" name=""/>
        <dsp:cNvSpPr/>
      </dsp:nvSpPr>
      <dsp:spPr>
        <a:xfrm>
          <a:off x="0" y="1109762"/>
          <a:ext cx="2206534" cy="505440"/>
        </a:xfrm>
        <a:prstGeom prst="roundRect">
          <a:avLst/>
        </a:prstGeom>
        <a:gradFill rotWithShape="0">
          <a:gsLst>
            <a:gs pos="0">
              <a:schemeClr val="bg1"/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000" b="1" kern="1200" dirty="0">
              <a:solidFill>
                <a:schemeClr val="bg1"/>
              </a:solidFill>
              <a:latin typeface="標楷體" panose="03000509000000000000" pitchFamily="65" charset="-120"/>
              <a:ea typeface="標楷體" panose="03000509000000000000" pitchFamily="65" charset="-120"/>
              <a:cs typeface="Heiti TC Light" charset="-120"/>
            </a:rPr>
            <a:t>議題探究</a:t>
          </a:r>
        </a:p>
      </dsp:txBody>
      <dsp:txXfrm>
        <a:off x="0" y="1109762"/>
        <a:ext cx="2206534" cy="505440"/>
      </dsp:txXfrm>
    </dsp:sp>
    <dsp:sp modelId="{64D36DC0-DF12-9745-9257-B1BA44156B09}">
      <dsp:nvSpPr>
        <dsp:cNvPr id="0" name=""/>
        <dsp:cNvSpPr/>
      </dsp:nvSpPr>
      <dsp:spPr>
        <a:xfrm>
          <a:off x="0" y="1615202"/>
          <a:ext cx="2206534" cy="4471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057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zh-TW" altLang="en-US" sz="2100" kern="1200" dirty="0">
              <a:latin typeface="標楷體" charset="-120"/>
              <a:ea typeface="標楷體" charset="-120"/>
            </a:rPr>
            <a:t>社會環境議題</a:t>
          </a:r>
        </a:p>
      </dsp:txBody>
      <dsp:txXfrm>
        <a:off x="0" y="1615202"/>
        <a:ext cx="2206534" cy="447120"/>
      </dsp:txXfrm>
    </dsp:sp>
    <dsp:sp modelId="{5A2D86B6-F3AD-4149-9F94-86044E05940C}">
      <dsp:nvSpPr>
        <dsp:cNvPr id="0" name=""/>
        <dsp:cNvSpPr/>
      </dsp:nvSpPr>
      <dsp:spPr>
        <a:xfrm>
          <a:off x="0" y="2062322"/>
          <a:ext cx="2206534" cy="505440"/>
        </a:xfrm>
        <a:prstGeom prst="roundRect">
          <a:avLst/>
        </a:prstGeom>
        <a:gradFill rotWithShape="0">
          <a:gsLst>
            <a:gs pos="0">
              <a:schemeClr val="bg1"/>
            </a:gs>
            <a:gs pos="50000">
              <a:schemeClr val="accent1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000" b="1" kern="1200" dirty="0">
              <a:solidFill>
                <a:schemeClr val="bg1"/>
              </a:solidFill>
              <a:latin typeface="標楷體" panose="03000509000000000000" pitchFamily="65" charset="-120"/>
              <a:ea typeface="標楷體" panose="03000509000000000000" pitchFamily="65" charset="-120"/>
              <a:cs typeface="Heiti TC Light" charset="-120"/>
            </a:rPr>
            <a:t>學科應用</a:t>
          </a:r>
        </a:p>
      </dsp:txBody>
      <dsp:txXfrm>
        <a:off x="0" y="2062322"/>
        <a:ext cx="2206534" cy="505440"/>
      </dsp:txXfrm>
    </dsp:sp>
    <dsp:sp modelId="{6D920D0E-E2DC-FB46-AB1E-6027AC8F0D84}">
      <dsp:nvSpPr>
        <dsp:cNvPr id="0" name=""/>
        <dsp:cNvSpPr/>
      </dsp:nvSpPr>
      <dsp:spPr>
        <a:xfrm>
          <a:off x="0" y="2567762"/>
          <a:ext cx="2206534" cy="103396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0057" tIns="34290" rIns="192024" bIns="3429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"/>
          </a:pPr>
          <a:r>
            <a:rPr lang="zh-TW" altLang="en-US" sz="2100" kern="1200" dirty="0">
              <a:latin typeface="標楷體" charset="-120"/>
              <a:ea typeface="標楷體" charset="-120"/>
            </a:rPr>
            <a:t>探究與實作：地理與人文社會科學研究</a:t>
          </a:r>
          <a:endParaRPr lang="zh-TW" altLang="en-US" sz="2100" kern="1200" dirty="0"/>
        </a:p>
      </dsp:txBody>
      <dsp:txXfrm>
        <a:off x="0" y="2567762"/>
        <a:ext cx="2206534" cy="1033964"/>
      </dsp:txXfrm>
    </dsp:sp>
  </dsp:spTree>
</dsp:drawing>
</file>

<file path=ppt/diagrams/drawing1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61AB80-29D4-47A4-956C-7201E6448AEA}">
      <dsp:nvSpPr>
        <dsp:cNvPr id="0" name=""/>
        <dsp:cNvSpPr/>
      </dsp:nvSpPr>
      <dsp:spPr>
        <a:xfrm>
          <a:off x="4241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國小社會</a:t>
          </a:r>
        </a:p>
      </dsp:txBody>
      <dsp:txXfrm>
        <a:off x="4241" y="0"/>
        <a:ext cx="2469058" cy="620688"/>
      </dsp:txXfrm>
    </dsp:sp>
    <dsp:sp modelId="{B6EE1DFF-800C-4A7E-A5B3-B2A8664B6FB9}">
      <dsp:nvSpPr>
        <dsp:cNvPr id="0" name=""/>
        <dsp:cNvSpPr/>
      </dsp:nvSpPr>
      <dsp:spPr>
        <a:xfrm>
          <a:off x="2226394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歷史</a:t>
          </a:r>
        </a:p>
      </dsp:txBody>
      <dsp:txXfrm>
        <a:off x="2226394" y="0"/>
        <a:ext cx="2469058" cy="620688"/>
      </dsp:txXfrm>
    </dsp:sp>
    <dsp:sp modelId="{5FB8DA8F-99A9-4822-8B47-9317B56FA977}">
      <dsp:nvSpPr>
        <dsp:cNvPr id="0" name=""/>
        <dsp:cNvSpPr/>
      </dsp:nvSpPr>
      <dsp:spPr>
        <a:xfrm>
          <a:off x="4448547" y="0"/>
          <a:ext cx="2469058" cy="620688"/>
        </a:xfrm>
        <a:prstGeom prst="chevron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地理</a:t>
          </a:r>
        </a:p>
      </dsp:txBody>
      <dsp:txXfrm>
        <a:off x="4448547" y="0"/>
        <a:ext cx="2469058" cy="620688"/>
      </dsp:txXfrm>
    </dsp:sp>
    <dsp:sp modelId="{23C7B257-B1D5-43F5-AC4E-858CCCD23FD7}">
      <dsp:nvSpPr>
        <dsp:cNvPr id="0" name=""/>
        <dsp:cNvSpPr/>
      </dsp:nvSpPr>
      <dsp:spPr>
        <a:xfrm>
          <a:off x="6670699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公民與社會</a:t>
          </a:r>
        </a:p>
      </dsp:txBody>
      <dsp:txXfrm>
        <a:off x="6670699" y="0"/>
        <a:ext cx="2469058" cy="620688"/>
      </dsp:txXfrm>
    </dsp:sp>
  </dsp:spTree>
</dsp:drawing>
</file>

<file path=ppt/diagrams/drawing1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61AB80-29D4-47A4-956C-7201E6448AEA}">
      <dsp:nvSpPr>
        <dsp:cNvPr id="0" name=""/>
        <dsp:cNvSpPr/>
      </dsp:nvSpPr>
      <dsp:spPr>
        <a:xfrm>
          <a:off x="4241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國小社會</a:t>
          </a:r>
        </a:p>
      </dsp:txBody>
      <dsp:txXfrm>
        <a:off x="4241" y="0"/>
        <a:ext cx="2469058" cy="620688"/>
      </dsp:txXfrm>
    </dsp:sp>
    <dsp:sp modelId="{B6EE1DFF-800C-4A7E-A5B3-B2A8664B6FB9}">
      <dsp:nvSpPr>
        <dsp:cNvPr id="0" name=""/>
        <dsp:cNvSpPr/>
      </dsp:nvSpPr>
      <dsp:spPr>
        <a:xfrm>
          <a:off x="2226394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歷史</a:t>
          </a:r>
        </a:p>
      </dsp:txBody>
      <dsp:txXfrm>
        <a:off x="2226394" y="0"/>
        <a:ext cx="2469058" cy="620688"/>
      </dsp:txXfrm>
    </dsp:sp>
    <dsp:sp modelId="{5FB8DA8F-99A9-4822-8B47-9317B56FA977}">
      <dsp:nvSpPr>
        <dsp:cNvPr id="0" name=""/>
        <dsp:cNvSpPr/>
      </dsp:nvSpPr>
      <dsp:spPr>
        <a:xfrm>
          <a:off x="4448547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地理</a:t>
          </a:r>
        </a:p>
      </dsp:txBody>
      <dsp:txXfrm>
        <a:off x="4448547" y="0"/>
        <a:ext cx="2469058" cy="620688"/>
      </dsp:txXfrm>
    </dsp:sp>
    <dsp:sp modelId="{23C7B257-B1D5-43F5-AC4E-858CCCD23FD7}">
      <dsp:nvSpPr>
        <dsp:cNvPr id="0" name=""/>
        <dsp:cNvSpPr/>
      </dsp:nvSpPr>
      <dsp:spPr>
        <a:xfrm>
          <a:off x="6670699" y="0"/>
          <a:ext cx="2469058" cy="620688"/>
        </a:xfrm>
        <a:prstGeom prst="chevron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公民與社會</a:t>
          </a:r>
        </a:p>
      </dsp:txBody>
      <dsp:txXfrm>
        <a:off x="6670699" y="0"/>
        <a:ext cx="2469058" cy="620688"/>
      </dsp:txXfrm>
    </dsp:sp>
  </dsp:spTree>
</dsp:drawing>
</file>

<file path=ppt/diagrams/drawing1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61AB80-29D4-47A4-956C-7201E6448AEA}">
      <dsp:nvSpPr>
        <dsp:cNvPr id="0" name=""/>
        <dsp:cNvSpPr/>
      </dsp:nvSpPr>
      <dsp:spPr>
        <a:xfrm>
          <a:off x="4241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國小社會</a:t>
          </a:r>
        </a:p>
      </dsp:txBody>
      <dsp:txXfrm>
        <a:off x="4241" y="0"/>
        <a:ext cx="2469058" cy="620688"/>
      </dsp:txXfrm>
    </dsp:sp>
    <dsp:sp modelId="{B6EE1DFF-800C-4A7E-A5B3-B2A8664B6FB9}">
      <dsp:nvSpPr>
        <dsp:cNvPr id="0" name=""/>
        <dsp:cNvSpPr/>
      </dsp:nvSpPr>
      <dsp:spPr>
        <a:xfrm>
          <a:off x="2226394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歷史</a:t>
          </a:r>
        </a:p>
      </dsp:txBody>
      <dsp:txXfrm>
        <a:off x="2226394" y="0"/>
        <a:ext cx="2469058" cy="620688"/>
      </dsp:txXfrm>
    </dsp:sp>
    <dsp:sp modelId="{5FB8DA8F-99A9-4822-8B47-9317B56FA977}">
      <dsp:nvSpPr>
        <dsp:cNvPr id="0" name=""/>
        <dsp:cNvSpPr/>
      </dsp:nvSpPr>
      <dsp:spPr>
        <a:xfrm>
          <a:off x="4448547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地理</a:t>
          </a:r>
        </a:p>
      </dsp:txBody>
      <dsp:txXfrm>
        <a:off x="4448547" y="0"/>
        <a:ext cx="2469058" cy="620688"/>
      </dsp:txXfrm>
    </dsp:sp>
    <dsp:sp modelId="{23C7B257-B1D5-43F5-AC4E-858CCCD23FD7}">
      <dsp:nvSpPr>
        <dsp:cNvPr id="0" name=""/>
        <dsp:cNvSpPr/>
      </dsp:nvSpPr>
      <dsp:spPr>
        <a:xfrm>
          <a:off x="6670699" y="0"/>
          <a:ext cx="2469058" cy="620688"/>
        </a:xfrm>
        <a:prstGeom prst="chevron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公民與社會</a:t>
          </a:r>
        </a:p>
      </dsp:txBody>
      <dsp:txXfrm>
        <a:off x="6670699" y="0"/>
        <a:ext cx="2469058" cy="620688"/>
      </dsp:txXfrm>
    </dsp:sp>
  </dsp:spTree>
</dsp:drawing>
</file>

<file path=ppt/diagrams/drawing1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154163-526D-4D2F-A01C-21C267F3E199}">
      <dsp:nvSpPr>
        <dsp:cNvPr id="0" name=""/>
        <dsp:cNvSpPr/>
      </dsp:nvSpPr>
      <dsp:spPr>
        <a:xfrm>
          <a:off x="1101912" y="0"/>
          <a:ext cx="4537635" cy="4537635"/>
        </a:xfrm>
        <a:prstGeom prst="quadArrow">
          <a:avLst>
            <a:gd name="adj1" fmla="val 2000"/>
            <a:gd name="adj2" fmla="val 4000"/>
            <a:gd name="adj3" fmla="val 5000"/>
          </a:avLst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E1F9DEF-4093-4A5C-834A-91035F75F8D4}">
      <dsp:nvSpPr>
        <dsp:cNvPr id="0" name=""/>
        <dsp:cNvSpPr/>
      </dsp:nvSpPr>
      <dsp:spPr>
        <a:xfrm>
          <a:off x="1396858" y="294946"/>
          <a:ext cx="1815054" cy="1815054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3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學校</a:t>
          </a:r>
          <a:endParaRPr lang="en-US" altLang="zh-TW" sz="34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本位</a:t>
          </a:r>
        </a:p>
      </dsp:txBody>
      <dsp:txXfrm>
        <a:off x="1396858" y="294946"/>
        <a:ext cx="1815054" cy="1815054"/>
      </dsp:txXfrm>
    </dsp:sp>
    <dsp:sp modelId="{2C50563F-BDCE-4C0B-82F5-E8EA81A144C4}">
      <dsp:nvSpPr>
        <dsp:cNvPr id="0" name=""/>
        <dsp:cNvSpPr/>
      </dsp:nvSpPr>
      <dsp:spPr>
        <a:xfrm>
          <a:off x="3529546" y="294946"/>
          <a:ext cx="1815054" cy="1815054"/>
        </a:xfrm>
        <a:prstGeom prst="roundRect">
          <a:avLst/>
        </a:prstGeom>
        <a:solidFill>
          <a:schemeClr val="accent5">
            <a:hueOff val="-2451115"/>
            <a:satOff val="-3409"/>
            <a:lumOff val="-130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3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學習者</a:t>
          </a:r>
          <a:endParaRPr lang="en-US" altLang="zh-TW" sz="34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3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中心</a:t>
          </a:r>
        </a:p>
      </dsp:txBody>
      <dsp:txXfrm>
        <a:off x="3529546" y="294946"/>
        <a:ext cx="1815054" cy="1815054"/>
      </dsp:txXfrm>
    </dsp:sp>
    <dsp:sp modelId="{36E61DBB-C6DF-4BA6-87CF-E0BF03C916F6}">
      <dsp:nvSpPr>
        <dsp:cNvPr id="0" name=""/>
        <dsp:cNvSpPr/>
      </dsp:nvSpPr>
      <dsp:spPr>
        <a:xfrm>
          <a:off x="1396858" y="2427634"/>
          <a:ext cx="1815054" cy="1815054"/>
        </a:xfrm>
        <a:prstGeom prst="roundRect">
          <a:avLst/>
        </a:prstGeom>
        <a:solidFill>
          <a:schemeClr val="accent5">
            <a:hueOff val="-4902230"/>
            <a:satOff val="-6819"/>
            <a:lumOff val="-261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3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問題</a:t>
          </a:r>
          <a:endParaRPr lang="en-US" altLang="zh-TW" sz="34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導向</a:t>
          </a:r>
        </a:p>
      </dsp:txBody>
      <dsp:txXfrm>
        <a:off x="1396858" y="2427634"/>
        <a:ext cx="1815054" cy="1815054"/>
      </dsp:txXfrm>
    </dsp:sp>
    <dsp:sp modelId="{F539113F-F584-4B8B-B5AF-1F854FE75A97}">
      <dsp:nvSpPr>
        <dsp:cNvPr id="0" name=""/>
        <dsp:cNvSpPr/>
      </dsp:nvSpPr>
      <dsp:spPr>
        <a:xfrm>
          <a:off x="3529546" y="2427634"/>
          <a:ext cx="1815054" cy="1815054"/>
        </a:xfrm>
        <a:prstGeom prst="roundRect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3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團隊</a:t>
          </a:r>
          <a:endParaRPr lang="en-US" altLang="zh-TW" sz="34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合作</a:t>
          </a:r>
        </a:p>
      </dsp:txBody>
      <dsp:txXfrm>
        <a:off x="3529546" y="2427634"/>
        <a:ext cx="1815054" cy="1815054"/>
      </dsp:txXfrm>
    </dsp:sp>
  </dsp:spTree>
</dsp:drawing>
</file>

<file path=ppt/diagrams/drawing1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4C1DDB9-F2B8-4C3B-A02F-5194FA84D98C}">
      <dsp:nvSpPr>
        <dsp:cNvPr id="0" name=""/>
        <dsp:cNvSpPr/>
      </dsp:nvSpPr>
      <dsp:spPr>
        <a:xfrm rot="16200000">
          <a:off x="858020" y="-858020"/>
          <a:ext cx="2226562" cy="3942603"/>
        </a:xfrm>
        <a:prstGeom prst="round1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留意縱向銜接與橫向統整</a:t>
          </a:r>
          <a:endParaRPr lang="en-US" altLang="zh-TW" sz="20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避免不必要的重複</a:t>
          </a:r>
        </a:p>
      </dsp:txBody>
      <dsp:txXfrm rot="5400000">
        <a:off x="-1" y="1"/>
        <a:ext cx="3942603" cy="1669921"/>
      </dsp:txXfrm>
    </dsp:sp>
    <dsp:sp modelId="{EADA6913-86A5-4616-AE59-69CFC147CCC0}">
      <dsp:nvSpPr>
        <dsp:cNvPr id="0" name=""/>
        <dsp:cNvSpPr/>
      </dsp:nvSpPr>
      <dsp:spPr>
        <a:xfrm>
          <a:off x="3942603" y="0"/>
          <a:ext cx="3942603" cy="2226562"/>
        </a:xfrm>
        <a:prstGeom prst="round1Rect">
          <a:avLst/>
        </a:prstGeom>
        <a:solidFill>
          <a:schemeClr val="accent5">
            <a:hueOff val="-2451115"/>
            <a:satOff val="-3409"/>
            <a:lumOff val="-130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結合學習表現與學習內容</a:t>
          </a:r>
          <a:endParaRPr lang="en-US" altLang="zh-TW" sz="20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設計符合整合性、脈絡性、策略性及活用性的學習教材</a:t>
          </a:r>
        </a:p>
      </dsp:txBody>
      <dsp:txXfrm>
        <a:off x="3942603" y="0"/>
        <a:ext cx="3942603" cy="1669921"/>
      </dsp:txXfrm>
    </dsp:sp>
    <dsp:sp modelId="{A410556E-9492-4823-A16D-E98FD02E9EB3}">
      <dsp:nvSpPr>
        <dsp:cNvPr id="0" name=""/>
        <dsp:cNvSpPr/>
      </dsp:nvSpPr>
      <dsp:spPr>
        <a:xfrm rot="10800000">
          <a:off x="0" y="2226562"/>
          <a:ext cx="3942603" cy="2226562"/>
        </a:xfrm>
        <a:prstGeom prst="round1Rect">
          <a:avLst/>
        </a:prstGeom>
        <a:solidFill>
          <a:schemeClr val="accent5">
            <a:hueOff val="-4902230"/>
            <a:satOff val="-6819"/>
            <a:lumOff val="-261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考量學生生活經驗及社會脈動</a:t>
          </a:r>
          <a:endParaRPr lang="en-US" altLang="zh-TW" sz="20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結合相關議題並兼顧多元觀點</a:t>
          </a:r>
          <a:endParaRPr lang="en-US" altLang="zh-TW" sz="20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避免刻板印象、歧視與權威內容</a:t>
          </a:r>
          <a:endParaRPr lang="en-US" altLang="zh-TW" sz="20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</dsp:txBody>
      <dsp:txXfrm rot="10800000">
        <a:off x="0" y="2783202"/>
        <a:ext cx="3942603" cy="1669921"/>
      </dsp:txXfrm>
    </dsp:sp>
    <dsp:sp modelId="{E144C839-0A13-4FF9-8DE2-C7B93C0E4348}">
      <dsp:nvSpPr>
        <dsp:cNvPr id="0" name=""/>
        <dsp:cNvSpPr/>
      </dsp:nvSpPr>
      <dsp:spPr>
        <a:xfrm rot="5400000">
          <a:off x="4800623" y="1368541"/>
          <a:ext cx="2226562" cy="3942603"/>
        </a:xfrm>
        <a:prstGeom prst="round1Rect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反映當今學界重要研究成果</a:t>
          </a:r>
          <a:endParaRPr lang="en-US" altLang="zh-TW" sz="20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避免過多艱澀的定義，或類型化、表淺化、零碎化與教條化的素材</a:t>
          </a:r>
        </a:p>
      </dsp:txBody>
      <dsp:txXfrm rot="-5400000">
        <a:off x="3942602" y="2783202"/>
        <a:ext cx="3942603" cy="1669921"/>
      </dsp:txXfrm>
    </dsp:sp>
    <dsp:sp modelId="{6D0F8881-58F9-459C-8861-3B1FF8159351}">
      <dsp:nvSpPr>
        <dsp:cNvPr id="0" name=""/>
        <dsp:cNvSpPr/>
      </dsp:nvSpPr>
      <dsp:spPr>
        <a:xfrm>
          <a:off x="2759822" y="1669921"/>
          <a:ext cx="2365561" cy="1113281"/>
        </a:xfrm>
        <a:prstGeom prst="roundRect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依據學習重點</a:t>
          </a:r>
          <a:endParaRPr lang="en-US" altLang="zh-TW" sz="20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融入核心素養</a:t>
          </a:r>
        </a:p>
      </dsp:txBody>
      <dsp:txXfrm>
        <a:off x="2814168" y="1724267"/>
        <a:ext cx="2256869" cy="100458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FA76436-0714-40A9-BFE4-71D927E2F895}">
      <dsp:nvSpPr>
        <dsp:cNvPr id="0" name=""/>
        <dsp:cNvSpPr/>
      </dsp:nvSpPr>
      <dsp:spPr>
        <a:xfrm>
          <a:off x="2673409" y="0"/>
          <a:ext cx="2277706" cy="1117542"/>
        </a:xfrm>
        <a:prstGeom prst="roundRect">
          <a:avLst/>
        </a:prstGeom>
        <a:solidFill>
          <a:srgbClr val="FFFF00"/>
        </a:solidFill>
        <a:ln w="28575" cap="flat" cmpd="sng" algn="ctr">
          <a:solidFill>
            <a:srgbClr val="C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200" b="0" kern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素養導向</a:t>
          </a:r>
        </a:p>
      </dsp:txBody>
      <dsp:txXfrm>
        <a:off x="2673409" y="0"/>
        <a:ext cx="2277706" cy="1117542"/>
      </dsp:txXfrm>
    </dsp:sp>
    <dsp:sp modelId="{8E78EEC7-8339-4245-AE14-50F6EA9EAEB0}">
      <dsp:nvSpPr>
        <dsp:cNvPr id="0" name=""/>
        <dsp:cNvSpPr/>
      </dsp:nvSpPr>
      <dsp:spPr>
        <a:xfrm>
          <a:off x="1879851" y="650956"/>
          <a:ext cx="4468449" cy="4468449"/>
        </a:xfrm>
        <a:custGeom>
          <a:avLst/>
          <a:gdLst/>
          <a:ahLst/>
          <a:cxnLst/>
          <a:rect l="0" t="0" r="0" b="0"/>
          <a:pathLst>
            <a:path>
              <a:moveTo>
                <a:pt x="3078311" y="165583"/>
              </a:moveTo>
              <a:arcTo wR="2234224" hR="2234224" stAng="17531843" swAng="1152489"/>
            </a:path>
          </a:pathLst>
        </a:custGeom>
        <a:noFill/>
        <a:ln w="635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9125D34-94AF-44A6-BADF-7753F4A6D10A}">
      <dsp:nvSpPr>
        <dsp:cNvPr id="0" name=""/>
        <dsp:cNvSpPr/>
      </dsp:nvSpPr>
      <dsp:spPr>
        <a:xfrm>
          <a:off x="4959424" y="1214446"/>
          <a:ext cx="2049538" cy="1117542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200" b="0" kern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彈性活力</a:t>
          </a:r>
        </a:p>
      </dsp:txBody>
      <dsp:txXfrm>
        <a:off x="4959424" y="1214446"/>
        <a:ext cx="2049538" cy="1117542"/>
      </dsp:txXfrm>
    </dsp:sp>
    <dsp:sp modelId="{EF7D8736-F10C-4F96-8413-249B49891B2E}">
      <dsp:nvSpPr>
        <dsp:cNvPr id="0" name=""/>
        <dsp:cNvSpPr/>
      </dsp:nvSpPr>
      <dsp:spPr>
        <a:xfrm>
          <a:off x="1736322" y="-262263"/>
          <a:ext cx="4468449" cy="4468449"/>
        </a:xfrm>
        <a:custGeom>
          <a:avLst/>
          <a:gdLst/>
          <a:ahLst/>
          <a:cxnLst/>
          <a:rect l="0" t="0" r="0" b="0"/>
          <a:pathLst>
            <a:path>
              <a:moveTo>
                <a:pt x="4437389" y="2605472"/>
              </a:moveTo>
              <a:arcTo wR="2234224" hR="2234224" stAng="573892" swAng="1734463"/>
            </a:path>
          </a:pathLst>
        </a:custGeom>
        <a:noFill/>
        <a:ln w="635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7EAB9C6-C45F-4D48-B1CC-4A0FF9D6906E}">
      <dsp:nvSpPr>
        <dsp:cNvPr id="0" name=""/>
        <dsp:cNvSpPr/>
      </dsp:nvSpPr>
      <dsp:spPr>
        <a:xfrm>
          <a:off x="4310487" y="3370848"/>
          <a:ext cx="2329182" cy="976989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38100" cap="flat" cmpd="sng" algn="ctr">
          <a:solidFill>
            <a:srgbClr val="C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200" b="0" kern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多元適性</a:t>
          </a:r>
        </a:p>
      </dsp:txBody>
      <dsp:txXfrm>
        <a:off x="4310487" y="3370848"/>
        <a:ext cx="2329182" cy="976989"/>
      </dsp:txXfrm>
    </dsp:sp>
    <dsp:sp modelId="{AC5E532D-E9A8-4E51-8C37-264AA576B324}">
      <dsp:nvSpPr>
        <dsp:cNvPr id="0" name=""/>
        <dsp:cNvSpPr/>
      </dsp:nvSpPr>
      <dsp:spPr>
        <a:xfrm>
          <a:off x="1514530" y="257780"/>
          <a:ext cx="4468449" cy="4468449"/>
        </a:xfrm>
        <a:custGeom>
          <a:avLst/>
          <a:gdLst/>
          <a:ahLst/>
          <a:cxnLst/>
          <a:rect l="0" t="0" r="0" b="0"/>
          <a:pathLst>
            <a:path>
              <a:moveTo>
                <a:pt x="3457388" y="4103884"/>
              </a:moveTo>
              <a:arcTo wR="2234224" hR="2234224" stAng="3408395" swAng="4013198"/>
            </a:path>
          </a:pathLst>
        </a:custGeom>
        <a:noFill/>
        <a:ln w="635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ABF3B8D-0461-4746-B6F8-993FB7EA6B3C}">
      <dsp:nvSpPr>
        <dsp:cNvPr id="0" name=""/>
        <dsp:cNvSpPr/>
      </dsp:nvSpPr>
      <dsp:spPr>
        <a:xfrm>
          <a:off x="887462" y="3357590"/>
          <a:ext cx="2417296" cy="979325"/>
        </a:xfrm>
        <a:prstGeom prst="roundRect">
          <a:avLst/>
        </a:prstGeom>
        <a:solidFill>
          <a:srgbClr val="ED7D31"/>
        </a:solidFill>
        <a:ln w="28575" cap="flat" cmpd="sng" algn="ctr">
          <a:solidFill>
            <a:srgbClr val="C0000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200" b="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連貫統整</a:t>
          </a:r>
        </a:p>
      </dsp:txBody>
      <dsp:txXfrm>
        <a:off x="887462" y="3357590"/>
        <a:ext cx="2417296" cy="979325"/>
      </dsp:txXfrm>
    </dsp:sp>
    <dsp:sp modelId="{8412900E-D6C5-4453-BE45-A6AE4056D28A}">
      <dsp:nvSpPr>
        <dsp:cNvPr id="0" name=""/>
        <dsp:cNvSpPr/>
      </dsp:nvSpPr>
      <dsp:spPr>
        <a:xfrm>
          <a:off x="1287963" y="-402377"/>
          <a:ext cx="4468449" cy="4468449"/>
        </a:xfrm>
        <a:custGeom>
          <a:avLst/>
          <a:gdLst/>
          <a:ahLst/>
          <a:cxnLst/>
          <a:rect l="0" t="0" r="0" b="0"/>
          <a:pathLst>
            <a:path>
              <a:moveTo>
                <a:pt x="595648" y="3753049"/>
              </a:moveTo>
              <a:arcTo wR="2234224" hR="2234224" stAng="8230321" swAng="1436168"/>
            </a:path>
          </a:pathLst>
        </a:custGeom>
        <a:noFill/>
        <a:ln w="635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CB1B4FD-ADB1-4BBE-93D6-851FAB81D2A0}">
      <dsp:nvSpPr>
        <dsp:cNvPr id="0" name=""/>
        <dsp:cNvSpPr/>
      </dsp:nvSpPr>
      <dsp:spPr>
        <a:xfrm>
          <a:off x="387395" y="1428760"/>
          <a:ext cx="2277706" cy="1117542"/>
        </a:xfrm>
        <a:prstGeom prst="roundRect">
          <a:avLst/>
        </a:prstGeom>
        <a:solidFill>
          <a:schemeClr val="bg1">
            <a:lumMod val="6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200" b="0" kern="12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配套整合</a:t>
          </a:r>
        </a:p>
      </dsp:txBody>
      <dsp:txXfrm>
        <a:off x="387395" y="1428760"/>
        <a:ext cx="2277706" cy="1117542"/>
      </dsp:txXfrm>
    </dsp:sp>
    <dsp:sp modelId="{BE1EE3AD-6C86-43EE-BE46-EEAD2F8AC26F}">
      <dsp:nvSpPr>
        <dsp:cNvPr id="0" name=""/>
        <dsp:cNvSpPr/>
      </dsp:nvSpPr>
      <dsp:spPr>
        <a:xfrm>
          <a:off x="1079073" y="835115"/>
          <a:ext cx="4468449" cy="4468449"/>
        </a:xfrm>
        <a:custGeom>
          <a:avLst/>
          <a:gdLst/>
          <a:ahLst/>
          <a:cxnLst/>
          <a:rect l="0" t="0" r="0" b="0"/>
          <a:pathLst>
            <a:path>
              <a:moveTo>
                <a:pt x="724991" y="586809"/>
              </a:moveTo>
              <a:arcTo wR="2234224" hR="2234224" stAng="13650392" swAng="1535514"/>
            </a:path>
          </a:pathLst>
        </a:custGeom>
        <a:noFill/>
        <a:ln w="63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A952651-1CC1-4659-88EA-22075D3F2BC0}">
      <dsp:nvSpPr>
        <dsp:cNvPr id="0" name=""/>
        <dsp:cNvSpPr/>
      </dsp:nvSpPr>
      <dsp:spPr>
        <a:xfrm>
          <a:off x="3242147" y="2492389"/>
          <a:ext cx="2092379" cy="2092379"/>
        </a:xfrm>
        <a:prstGeom prst="ellipse">
          <a:avLst/>
        </a:prstGeom>
        <a:solidFill>
          <a:schemeClr val="accent2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marL="0" lvl="0" indent="0" algn="ctr" defTabSz="12446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800" b="1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落實</a:t>
          </a:r>
          <a:endParaRPr lang="en-US" altLang="zh-TW" sz="2800" b="1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12446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800" b="1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探究學習</a:t>
          </a:r>
        </a:p>
      </dsp:txBody>
      <dsp:txXfrm>
        <a:off x="3242147" y="2492389"/>
        <a:ext cx="2092379" cy="2092379"/>
      </dsp:txXfrm>
    </dsp:sp>
    <dsp:sp modelId="{F3F6FA02-A9CC-460D-A4CC-51964A512C71}">
      <dsp:nvSpPr>
        <dsp:cNvPr id="0" name=""/>
        <dsp:cNvSpPr/>
      </dsp:nvSpPr>
      <dsp:spPr>
        <a:xfrm rot="12849888">
          <a:off x="1577170" y="2051447"/>
          <a:ext cx="1918682" cy="596328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312DF9D-F6E8-468C-81B0-1F4D7C4B53B5}">
      <dsp:nvSpPr>
        <dsp:cNvPr id="0" name=""/>
        <dsp:cNvSpPr/>
      </dsp:nvSpPr>
      <dsp:spPr>
        <a:xfrm>
          <a:off x="513367" y="1015765"/>
          <a:ext cx="2458721" cy="1590208"/>
        </a:xfrm>
        <a:prstGeom prst="roundRect">
          <a:avLst>
            <a:gd name="adj" fmla="val 1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32385" rIns="32385" bIns="32385" numCol="1" spcCol="1270" anchor="ctr" anchorCtr="0">
          <a:noAutofit/>
        </a:bodyPr>
        <a:lstStyle/>
        <a:p>
          <a:pPr marL="0" lvl="0" indent="0" algn="just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17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依據課綱、結合各地區特色，設計具有探究精神與重視提問的有效教學。</a:t>
          </a:r>
        </a:p>
      </dsp:txBody>
      <dsp:txXfrm>
        <a:off x="513367" y="1015765"/>
        <a:ext cx="2458721" cy="1590208"/>
      </dsp:txXfrm>
    </dsp:sp>
    <dsp:sp modelId="{807EF3C9-8EC0-41AD-A01D-35393BF6E553}">
      <dsp:nvSpPr>
        <dsp:cNvPr id="0" name=""/>
        <dsp:cNvSpPr/>
      </dsp:nvSpPr>
      <dsp:spPr>
        <a:xfrm rot="16207884">
          <a:off x="3555994" y="1371856"/>
          <a:ext cx="1473256" cy="596328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hueOff val="-3676672"/>
            <a:satOff val="-5114"/>
            <a:lumOff val="-1961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D9C3128-8D18-4BCD-9DCD-1B1BC2930C0C}">
      <dsp:nvSpPr>
        <dsp:cNvPr id="0" name=""/>
        <dsp:cNvSpPr/>
      </dsp:nvSpPr>
      <dsp:spPr>
        <a:xfrm>
          <a:off x="3098037" y="138290"/>
          <a:ext cx="2392548" cy="1590208"/>
        </a:xfrm>
        <a:prstGeom prst="roundRect">
          <a:avLst>
            <a:gd name="adj" fmla="val 10000"/>
          </a:avLst>
        </a:prstGeom>
        <a:solidFill>
          <a:schemeClr val="accent5">
            <a:hueOff val="-3676672"/>
            <a:satOff val="-5114"/>
            <a:lumOff val="-196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32385" rIns="32385" bIns="32385" numCol="1" spcCol="1270" anchor="ctr" anchorCtr="0">
          <a:noAutofit/>
        </a:bodyPr>
        <a:lstStyle/>
        <a:p>
          <a:pPr marL="0" lvl="0" indent="0" algn="just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17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應以開放多元的態度，強調民主社會中理性溝通、尊重差異的重要性。</a:t>
          </a:r>
        </a:p>
      </dsp:txBody>
      <dsp:txXfrm>
        <a:off x="3098037" y="138290"/>
        <a:ext cx="2392548" cy="1590208"/>
      </dsp:txXfrm>
    </dsp:sp>
    <dsp:sp modelId="{1AD82CD2-883E-4810-BE26-8CA486291B9E}">
      <dsp:nvSpPr>
        <dsp:cNvPr id="0" name=""/>
        <dsp:cNvSpPr/>
      </dsp:nvSpPr>
      <dsp:spPr>
        <a:xfrm rot="19563576">
          <a:off x="5089267" y="2090420"/>
          <a:ext cx="1815678" cy="596328"/>
        </a:xfrm>
        <a:prstGeom prst="leftArrow">
          <a:avLst>
            <a:gd name="adj1" fmla="val 60000"/>
            <a:gd name="adj2" fmla="val 50000"/>
          </a:avLst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6BE55E8-B146-4C69-897B-2147251258BD}">
      <dsp:nvSpPr>
        <dsp:cNvPr id="0" name=""/>
        <dsp:cNvSpPr/>
      </dsp:nvSpPr>
      <dsp:spPr>
        <a:xfrm>
          <a:off x="5601281" y="1125081"/>
          <a:ext cx="2297970" cy="1513258"/>
        </a:xfrm>
        <a:prstGeom prst="roundRect">
          <a:avLst>
            <a:gd name="adj" fmla="val 10000"/>
          </a:avLst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2385" tIns="32385" rIns="32385" bIns="32385" numCol="1" spcCol="1270" anchor="ctr" anchorCtr="0">
          <a:noAutofit/>
        </a:bodyPr>
        <a:lstStyle/>
        <a:p>
          <a:pPr marL="0" lvl="0" indent="0" algn="just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17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強化課程的整合與應用，彈性實施歷史考察、田野實察或其他形式的探究學習。</a:t>
          </a:r>
        </a:p>
      </dsp:txBody>
      <dsp:txXfrm>
        <a:off x="5601281" y="1125081"/>
        <a:ext cx="2297970" cy="1513258"/>
      </dsp:txXfrm>
    </dsp:sp>
  </dsp:spTree>
</dsp:drawing>
</file>

<file path=ppt/diagrams/drawing2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28E88C3-791B-4373-AD68-2A7364C977E4}">
      <dsp:nvSpPr>
        <dsp:cNvPr id="0" name=""/>
        <dsp:cNvSpPr/>
      </dsp:nvSpPr>
      <dsp:spPr>
        <a:xfrm rot="5400000">
          <a:off x="5043552" y="-2107967"/>
          <a:ext cx="994926" cy="5464763"/>
        </a:xfrm>
        <a:prstGeom prst="round2Same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"/>
          </a:pPr>
          <a:endParaRPr lang="zh-TW" altLang="en-US" sz="16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171450" lvl="1" indent="-171450" algn="l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zh-TW" altLang="en-US" sz="16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應依據社會領域之課程目標、核心素養、學習表現及學習內容。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0"/>
            </a:spcAft>
            <a:buChar char="•"/>
          </a:pPr>
          <a:endParaRPr lang="zh-TW" altLang="en-US" sz="16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</dsp:txBody>
      <dsp:txXfrm rot="-5400000">
        <a:off x="2808634" y="175519"/>
        <a:ext cx="5416195" cy="897790"/>
      </dsp:txXfrm>
    </dsp:sp>
    <dsp:sp modelId="{180BA1B6-5C19-4692-B08E-1D022D2CDFBB}">
      <dsp:nvSpPr>
        <dsp:cNvPr id="0" name=""/>
        <dsp:cNvSpPr/>
      </dsp:nvSpPr>
      <dsp:spPr>
        <a:xfrm>
          <a:off x="227547" y="2585"/>
          <a:ext cx="2581086" cy="1243657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6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評量依據</a:t>
          </a:r>
        </a:p>
      </dsp:txBody>
      <dsp:txXfrm>
        <a:off x="288257" y="63295"/>
        <a:ext cx="2459666" cy="1122237"/>
      </dsp:txXfrm>
    </dsp:sp>
    <dsp:sp modelId="{DB822C2C-21EA-4A8B-A2AA-966DA693987E}">
      <dsp:nvSpPr>
        <dsp:cNvPr id="0" name=""/>
        <dsp:cNvSpPr/>
      </dsp:nvSpPr>
      <dsp:spPr>
        <a:xfrm rot="5400000">
          <a:off x="5062426" y="-802126"/>
          <a:ext cx="994926" cy="5464763"/>
        </a:xfrm>
        <a:prstGeom prst="round2SameRect">
          <a:avLst/>
        </a:prstGeom>
        <a:solidFill>
          <a:schemeClr val="accent5">
            <a:tint val="40000"/>
            <a:alpha val="90000"/>
            <a:hueOff val="-2463918"/>
            <a:satOff val="-4272"/>
            <a:lumOff val="-430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-2463918"/>
              <a:satOff val="-4272"/>
              <a:lumOff val="-43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zh-TW" altLang="en-US" sz="16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兼重學習歷程與結果。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zh-TW" altLang="en-US" sz="16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採用紙筆測驗、作業練習、實作評量、田野實察、專題報告、檔案評量等多元形式。</a:t>
          </a:r>
        </a:p>
      </dsp:txBody>
      <dsp:txXfrm rot="-5400000">
        <a:off x="2827508" y="1481360"/>
        <a:ext cx="5416195" cy="897790"/>
      </dsp:txXfrm>
    </dsp:sp>
    <dsp:sp modelId="{0557FA2C-F3CD-4AAF-B6BE-E02AB15DB32A}">
      <dsp:nvSpPr>
        <dsp:cNvPr id="0" name=""/>
        <dsp:cNvSpPr/>
      </dsp:nvSpPr>
      <dsp:spPr>
        <a:xfrm>
          <a:off x="227547" y="1308426"/>
          <a:ext cx="2599960" cy="1243657"/>
        </a:xfrm>
        <a:prstGeom prst="roundRect">
          <a:avLst/>
        </a:prstGeom>
        <a:solidFill>
          <a:schemeClr val="accent5">
            <a:hueOff val="-2451115"/>
            <a:satOff val="-3409"/>
            <a:lumOff val="-130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6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評量方式</a:t>
          </a:r>
        </a:p>
      </dsp:txBody>
      <dsp:txXfrm>
        <a:off x="288257" y="1369136"/>
        <a:ext cx="2478540" cy="1122237"/>
      </dsp:txXfrm>
    </dsp:sp>
    <dsp:sp modelId="{A58BE33C-4163-435D-AC16-4BD491973087}">
      <dsp:nvSpPr>
        <dsp:cNvPr id="0" name=""/>
        <dsp:cNvSpPr/>
      </dsp:nvSpPr>
      <dsp:spPr>
        <a:xfrm rot="5400000">
          <a:off x="4982832" y="503714"/>
          <a:ext cx="1116366" cy="5464763"/>
        </a:xfrm>
        <a:prstGeom prst="round2SameRect">
          <a:avLst/>
        </a:prstGeom>
        <a:solidFill>
          <a:schemeClr val="accent5">
            <a:tint val="40000"/>
            <a:alpha val="90000"/>
            <a:hueOff val="-4927835"/>
            <a:satOff val="-8544"/>
            <a:lumOff val="-859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-4927835"/>
              <a:satOff val="-8544"/>
              <a:lumOff val="-85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zh-TW" altLang="en-US" sz="16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考量學生身心發展、個別差異與文化差異。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zh-TW" altLang="en-US" sz="16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勿淪於零碎的知識記憶，應兼重高層次的認知、情意、技能表現及其在實際生活中的運用。</a:t>
          </a:r>
        </a:p>
      </dsp:txBody>
      <dsp:txXfrm rot="-5400000">
        <a:off x="2808634" y="2732408"/>
        <a:ext cx="5410267" cy="1007374"/>
      </dsp:txXfrm>
    </dsp:sp>
    <dsp:sp modelId="{F9432957-76E8-46EF-A979-1BF4999E4924}">
      <dsp:nvSpPr>
        <dsp:cNvPr id="0" name=""/>
        <dsp:cNvSpPr/>
      </dsp:nvSpPr>
      <dsp:spPr>
        <a:xfrm>
          <a:off x="227547" y="2614266"/>
          <a:ext cx="2581086" cy="1243657"/>
        </a:xfrm>
        <a:prstGeom prst="roundRect">
          <a:avLst/>
        </a:prstGeom>
        <a:solidFill>
          <a:schemeClr val="accent5">
            <a:hueOff val="-4902230"/>
            <a:satOff val="-6819"/>
            <a:lumOff val="-261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6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評量內容</a:t>
          </a:r>
        </a:p>
      </dsp:txBody>
      <dsp:txXfrm>
        <a:off x="288257" y="2674976"/>
        <a:ext cx="2459666" cy="1122237"/>
      </dsp:txXfrm>
    </dsp:sp>
    <dsp:sp modelId="{9C54C7E6-F374-4393-90F3-BD089DCB4A95}">
      <dsp:nvSpPr>
        <dsp:cNvPr id="0" name=""/>
        <dsp:cNvSpPr/>
      </dsp:nvSpPr>
      <dsp:spPr>
        <a:xfrm rot="5400000">
          <a:off x="5081300" y="1809554"/>
          <a:ext cx="994926" cy="5464763"/>
        </a:xfrm>
        <a:prstGeom prst="round2SameRect">
          <a:avLst/>
        </a:prstGeom>
        <a:solidFill>
          <a:schemeClr val="accent5">
            <a:tint val="40000"/>
            <a:alpha val="90000"/>
            <a:hueOff val="-7391752"/>
            <a:satOff val="-12816"/>
            <a:lumOff val="-1289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-7391752"/>
              <a:satOff val="-12816"/>
              <a:lumOff val="-128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zh-TW" altLang="en-US" sz="16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分析評量結果。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0"/>
            </a:spcAft>
            <a:buChar char="•"/>
          </a:pPr>
          <a:r>
            <a:rPr lang="zh-TW" altLang="en-US" sz="16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作為教學反思、調整及補救教學的參考。</a:t>
          </a:r>
        </a:p>
      </dsp:txBody>
      <dsp:txXfrm rot="-5400000">
        <a:off x="2846382" y="4093040"/>
        <a:ext cx="5416195" cy="897790"/>
      </dsp:txXfrm>
    </dsp:sp>
    <dsp:sp modelId="{45AB083B-87C6-484E-8672-C07F90864E79}">
      <dsp:nvSpPr>
        <dsp:cNvPr id="0" name=""/>
        <dsp:cNvSpPr/>
      </dsp:nvSpPr>
      <dsp:spPr>
        <a:xfrm>
          <a:off x="227547" y="3920107"/>
          <a:ext cx="2618834" cy="1243657"/>
        </a:xfrm>
        <a:prstGeom prst="roundRect">
          <a:avLst/>
        </a:prstGeom>
        <a:solidFill>
          <a:schemeClr val="accent5">
            <a:hueOff val="-7353344"/>
            <a:satOff val="-10228"/>
            <a:lumOff val="-3922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6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評量運用</a:t>
          </a:r>
        </a:p>
      </dsp:txBody>
      <dsp:txXfrm>
        <a:off x="288257" y="3980817"/>
        <a:ext cx="2497414" cy="1122237"/>
      </dsp:txXfrm>
    </dsp:sp>
  </dsp:spTree>
</dsp:drawing>
</file>

<file path=ppt/diagrams/drawing2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48A202-CF9D-4C10-8601-0750009DA951}">
      <dsp:nvSpPr>
        <dsp:cNvPr id="0" name=""/>
        <dsp:cNvSpPr/>
      </dsp:nvSpPr>
      <dsp:spPr>
        <a:xfrm>
          <a:off x="279401" y="316"/>
          <a:ext cx="3272216" cy="2442640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A83FCE-84E4-48F4-9525-F9B997E206DE}">
      <dsp:nvSpPr>
        <dsp:cNvPr id="0" name=""/>
        <dsp:cNvSpPr/>
      </dsp:nvSpPr>
      <dsp:spPr>
        <a:xfrm>
          <a:off x="284506" y="2378646"/>
          <a:ext cx="3272216" cy="11795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0" rIns="22860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18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．</a:t>
          </a:r>
          <a:r>
            <a:rPr lang="zh-TW" altLang="en-US" sz="1800" b="1" u="sng" kern="12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  <a:hlinkClick xmlns:r="http://schemas.openxmlformats.org/officeDocument/2006/relationships" r:id="rId1"/>
            </a:rPr>
            <a:t>課程綱要</a:t>
          </a:r>
          <a:endParaRPr lang="zh-TW" altLang="en-US" sz="1800" b="1" u="sng" kern="1200" dirty="0">
            <a:solidFill>
              <a:schemeClr val="bg1"/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</dsp:txBody>
      <dsp:txXfrm>
        <a:off x="284506" y="2378646"/>
        <a:ext cx="2304377" cy="1179589"/>
      </dsp:txXfrm>
    </dsp:sp>
    <dsp:sp modelId="{5346BA52-849F-4A7D-8B52-170149EAECD6}">
      <dsp:nvSpPr>
        <dsp:cNvPr id="0" name=""/>
        <dsp:cNvSpPr/>
      </dsp:nvSpPr>
      <dsp:spPr>
        <a:xfrm flipH="1" flipV="1">
          <a:off x="3785300" y="92809"/>
          <a:ext cx="45719" cy="45719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48A202-CF9D-4C10-8601-0750009DA951}">
      <dsp:nvSpPr>
        <dsp:cNvPr id="0" name=""/>
        <dsp:cNvSpPr/>
      </dsp:nvSpPr>
      <dsp:spPr>
        <a:xfrm>
          <a:off x="279401" y="316"/>
          <a:ext cx="3272216" cy="2442640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A83FCE-84E4-48F4-9525-F9B997E206DE}">
      <dsp:nvSpPr>
        <dsp:cNvPr id="0" name=""/>
        <dsp:cNvSpPr/>
      </dsp:nvSpPr>
      <dsp:spPr>
        <a:xfrm>
          <a:off x="284506" y="2378646"/>
          <a:ext cx="3272216" cy="1179589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0" rIns="22860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18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．</a:t>
          </a:r>
          <a:r>
            <a:rPr lang="zh-TW" altLang="en-US" sz="1800" b="1" kern="1200" dirty="0">
              <a:latin typeface="微軟正黑體" panose="020B0604030504040204" pitchFamily="34" charset="-120"/>
              <a:ea typeface="微軟正黑體" panose="020B0604030504040204" pitchFamily="34" charset="-120"/>
              <a:hlinkClick xmlns:r="http://schemas.openxmlformats.org/officeDocument/2006/relationships" r:id="rId1"/>
            </a:rPr>
            <a:t>課程手冊</a:t>
          </a:r>
          <a:endParaRPr lang="zh-TW" altLang="en-US" sz="1800" b="1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</dsp:txBody>
      <dsp:txXfrm>
        <a:off x="284506" y="2378646"/>
        <a:ext cx="2304377" cy="1179589"/>
      </dsp:txXfrm>
    </dsp:sp>
    <dsp:sp modelId="{5346BA52-849F-4A7D-8B52-170149EAECD6}">
      <dsp:nvSpPr>
        <dsp:cNvPr id="0" name=""/>
        <dsp:cNvSpPr/>
      </dsp:nvSpPr>
      <dsp:spPr>
        <a:xfrm flipH="1" flipV="1">
          <a:off x="3785300" y="92809"/>
          <a:ext cx="45719" cy="45719"/>
        </a:xfrm>
        <a:prstGeom prst="ellipse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89D6E4C-FA87-4C38-B0E2-EC17F927D833}">
      <dsp:nvSpPr>
        <dsp:cNvPr id="0" name=""/>
        <dsp:cNvSpPr/>
      </dsp:nvSpPr>
      <dsp:spPr>
        <a:xfrm>
          <a:off x="0" y="3547008"/>
          <a:ext cx="8127207" cy="1271463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200" b="1" kern="1200" dirty="0">
              <a:solidFill>
                <a:srgbClr val="FF9966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rPr>
            <a:t>課程內容</a:t>
          </a:r>
        </a:p>
      </dsp:txBody>
      <dsp:txXfrm>
        <a:off x="0" y="3547008"/>
        <a:ext cx="2438162" cy="1271463"/>
      </dsp:txXfrm>
    </dsp:sp>
    <dsp:sp modelId="{58E55AAA-DE08-4607-8F5B-A298F20DA1DD}">
      <dsp:nvSpPr>
        <dsp:cNvPr id="0" name=""/>
        <dsp:cNvSpPr/>
      </dsp:nvSpPr>
      <dsp:spPr>
        <a:xfrm>
          <a:off x="0" y="2085032"/>
          <a:ext cx="8127207" cy="1271463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200" b="1" kern="1200" dirty="0">
              <a:solidFill>
                <a:schemeClr val="accent6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rPr>
            <a:t>課程類型</a:t>
          </a:r>
        </a:p>
      </dsp:txBody>
      <dsp:txXfrm>
        <a:off x="0" y="2085032"/>
        <a:ext cx="2438162" cy="1271463"/>
      </dsp:txXfrm>
    </dsp:sp>
    <dsp:sp modelId="{9CC68027-AD3E-4C14-BBB5-64BDC8B6ADD5}">
      <dsp:nvSpPr>
        <dsp:cNvPr id="0" name=""/>
        <dsp:cNvSpPr/>
      </dsp:nvSpPr>
      <dsp:spPr>
        <a:xfrm>
          <a:off x="0" y="575403"/>
          <a:ext cx="8127207" cy="1271463"/>
        </a:xfrm>
        <a:prstGeom prst="roundRect">
          <a:avLst>
            <a:gd name="adj" fmla="val 10000"/>
          </a:avLst>
        </a:prstGeom>
        <a:solidFill>
          <a:schemeClr val="bg1">
            <a:lumMod val="9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227584" tIns="227584" rIns="227584" bIns="227584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200" b="1" kern="1200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rPr>
            <a:t>教育階段</a:t>
          </a:r>
        </a:p>
      </dsp:txBody>
      <dsp:txXfrm>
        <a:off x="0" y="575403"/>
        <a:ext cx="2438162" cy="1271463"/>
      </dsp:txXfrm>
    </dsp:sp>
    <dsp:sp modelId="{A0834E09-F94E-4A0B-A9B9-3540E594EA10}">
      <dsp:nvSpPr>
        <dsp:cNvPr id="0" name=""/>
        <dsp:cNvSpPr/>
      </dsp:nvSpPr>
      <dsp:spPr>
        <a:xfrm>
          <a:off x="3747704" y="772982"/>
          <a:ext cx="2607850" cy="807464"/>
        </a:xfrm>
        <a:prstGeom prst="roundRect">
          <a:avLst>
            <a:gd name="adj" fmla="val 10000"/>
          </a:avLst>
        </a:prstGeom>
        <a:solidFill>
          <a:schemeClr val="accent4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21920" tIns="121920" rIns="121920" bIns="121920" numCol="1" spcCol="1270" anchor="ctr" anchorCtr="0">
          <a:noAutofit/>
        </a:bodyPr>
        <a:lstStyle/>
        <a:p>
          <a:pPr marL="0" lvl="0" indent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200" b="1" kern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cs typeface="Times New Roman" pitchFamily="18" charset="0"/>
            </a:rPr>
            <a:t>國民中小學</a:t>
          </a:r>
          <a:endParaRPr lang="zh-TW" altLang="en-US" sz="3200" b="1" kern="1200" dirty="0">
            <a:solidFill>
              <a:schemeClr val="tx1">
                <a:lumMod val="75000"/>
                <a:lumOff val="2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</dsp:txBody>
      <dsp:txXfrm>
        <a:off x="3747704" y="772982"/>
        <a:ext cx="2607850" cy="807464"/>
      </dsp:txXfrm>
    </dsp:sp>
    <dsp:sp modelId="{45C0E22E-070B-413E-B4BE-73A740661682}">
      <dsp:nvSpPr>
        <dsp:cNvPr id="0" name=""/>
        <dsp:cNvSpPr/>
      </dsp:nvSpPr>
      <dsp:spPr>
        <a:xfrm>
          <a:off x="3586264" y="1580446"/>
          <a:ext cx="1465365" cy="843859"/>
        </a:xfrm>
        <a:custGeom>
          <a:avLst/>
          <a:gdLst/>
          <a:ahLst/>
          <a:cxnLst/>
          <a:rect l="0" t="0" r="0" b="0"/>
          <a:pathLst>
            <a:path>
              <a:moveTo>
                <a:pt x="1465365" y="0"/>
              </a:moveTo>
              <a:lnTo>
                <a:pt x="1465365" y="421929"/>
              </a:lnTo>
              <a:lnTo>
                <a:pt x="0" y="421929"/>
              </a:lnTo>
              <a:lnTo>
                <a:pt x="0" y="843859"/>
              </a:lnTo>
            </a:path>
          </a:pathLst>
        </a:custGeom>
        <a:noFill/>
        <a:ln w="63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DA7E8EE-D5C7-461C-8367-580082AAB01D}">
      <dsp:nvSpPr>
        <dsp:cNvPr id="0" name=""/>
        <dsp:cNvSpPr/>
      </dsp:nvSpPr>
      <dsp:spPr>
        <a:xfrm>
          <a:off x="2424806" y="2424305"/>
          <a:ext cx="2322916" cy="592915"/>
        </a:xfrm>
        <a:prstGeom prst="roundRect">
          <a:avLst>
            <a:gd name="adj" fmla="val 10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400" b="1" kern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領域學習課程</a:t>
          </a:r>
        </a:p>
      </dsp:txBody>
      <dsp:txXfrm>
        <a:off x="2424806" y="2424305"/>
        <a:ext cx="2322916" cy="592915"/>
      </dsp:txXfrm>
    </dsp:sp>
    <dsp:sp modelId="{DFBB11B0-F92D-4C99-9AD7-598E4D51462A}">
      <dsp:nvSpPr>
        <dsp:cNvPr id="0" name=""/>
        <dsp:cNvSpPr/>
      </dsp:nvSpPr>
      <dsp:spPr>
        <a:xfrm>
          <a:off x="3540544" y="3017221"/>
          <a:ext cx="91440" cy="75473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377365"/>
              </a:lnTo>
              <a:lnTo>
                <a:pt x="52426" y="377365"/>
              </a:lnTo>
              <a:lnTo>
                <a:pt x="52426" y="75473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8A7D40E-02E8-486D-B3CD-A273D4A75CB0}">
      <dsp:nvSpPr>
        <dsp:cNvPr id="0" name=""/>
        <dsp:cNvSpPr/>
      </dsp:nvSpPr>
      <dsp:spPr>
        <a:xfrm>
          <a:off x="2496644" y="3771951"/>
          <a:ext cx="2192654" cy="713216"/>
        </a:xfrm>
        <a:prstGeom prst="roundRect">
          <a:avLst>
            <a:gd name="adj" fmla="val 10000"/>
          </a:avLst>
        </a:prstGeom>
        <a:solidFill>
          <a:schemeClr val="accent2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八大領域</a:t>
          </a:r>
        </a:p>
      </dsp:txBody>
      <dsp:txXfrm>
        <a:off x="2496644" y="3771951"/>
        <a:ext cx="2192654" cy="713216"/>
      </dsp:txXfrm>
    </dsp:sp>
    <dsp:sp modelId="{B480F158-E0B1-4D38-8C83-70B0AFBC669B}">
      <dsp:nvSpPr>
        <dsp:cNvPr id="0" name=""/>
        <dsp:cNvSpPr/>
      </dsp:nvSpPr>
      <dsp:spPr>
        <a:xfrm>
          <a:off x="5051630" y="1580446"/>
          <a:ext cx="1519299" cy="83895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419476"/>
              </a:lnTo>
              <a:lnTo>
                <a:pt x="1519299" y="419476"/>
              </a:lnTo>
              <a:lnTo>
                <a:pt x="1519299" y="838953"/>
              </a:lnTo>
            </a:path>
          </a:pathLst>
        </a:custGeom>
        <a:noFill/>
        <a:ln w="6350" cap="flat" cmpd="sng" algn="ctr">
          <a:solidFill>
            <a:schemeClr val="accent6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00EB76B-CDFE-41EE-A7A2-296328D4BCD6}">
      <dsp:nvSpPr>
        <dsp:cNvPr id="0" name=""/>
        <dsp:cNvSpPr/>
      </dsp:nvSpPr>
      <dsp:spPr>
        <a:xfrm>
          <a:off x="5432651" y="2419400"/>
          <a:ext cx="2276555" cy="539142"/>
        </a:xfrm>
        <a:prstGeom prst="roundRect">
          <a:avLst>
            <a:gd name="adj" fmla="val 10000"/>
          </a:avLst>
        </a:prstGeom>
        <a:solidFill>
          <a:schemeClr val="accent6">
            <a:lumMod val="60000"/>
            <a:lumOff val="4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400" b="1" kern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彈性學習課程</a:t>
          </a:r>
        </a:p>
      </dsp:txBody>
      <dsp:txXfrm>
        <a:off x="5432651" y="2419400"/>
        <a:ext cx="2276555" cy="539142"/>
      </dsp:txXfrm>
    </dsp:sp>
    <dsp:sp modelId="{467385A6-D0D7-431A-99D3-AF86122EE20D}">
      <dsp:nvSpPr>
        <dsp:cNvPr id="0" name=""/>
        <dsp:cNvSpPr/>
      </dsp:nvSpPr>
      <dsp:spPr>
        <a:xfrm>
          <a:off x="6525209" y="2958542"/>
          <a:ext cx="91440" cy="196769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98384"/>
              </a:lnTo>
              <a:lnTo>
                <a:pt x="56225" y="98384"/>
              </a:lnTo>
              <a:lnTo>
                <a:pt x="56225" y="196769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5E7626-07BD-4A70-998E-9EBFAC04375E}">
      <dsp:nvSpPr>
        <dsp:cNvPr id="0" name=""/>
        <dsp:cNvSpPr/>
      </dsp:nvSpPr>
      <dsp:spPr>
        <a:xfrm>
          <a:off x="5188093" y="3155312"/>
          <a:ext cx="2786682" cy="2292374"/>
        </a:xfrm>
        <a:prstGeom prst="roundRect">
          <a:avLst>
            <a:gd name="adj" fmla="val 10000"/>
          </a:avLst>
        </a:prstGeom>
        <a:solidFill>
          <a:schemeClr val="accent2">
            <a:lumMod val="40000"/>
            <a:lumOff val="60000"/>
          </a:schemeClr>
        </a:solid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80975" lvl="0" indent="-180975" algn="l" defTabSz="8001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altLang="zh-TW" sz="1800" b="1" kern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1.</a:t>
          </a:r>
          <a:r>
            <a:rPr lang="zh-TW" sz="1800" b="1" kern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統整性主題</a:t>
          </a:r>
          <a:r>
            <a:rPr lang="en-US" sz="1800" b="1" kern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/</a:t>
          </a:r>
          <a:r>
            <a:rPr lang="zh-TW" sz="1800" b="1" kern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專題</a:t>
          </a:r>
          <a:r>
            <a:rPr lang="en-US" sz="1800" b="1" kern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/</a:t>
          </a:r>
          <a:r>
            <a:rPr lang="zh-TW" sz="1800" b="1" kern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議題探究課程</a:t>
          </a:r>
          <a:endParaRPr lang="en-US" altLang="zh-TW" sz="1800" b="1" kern="1200" dirty="0">
            <a:solidFill>
              <a:schemeClr val="tx1">
                <a:lumMod val="75000"/>
                <a:lumOff val="2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altLang="zh-TW" sz="1800" b="1" kern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2.</a:t>
          </a:r>
          <a:r>
            <a:rPr lang="zh-TW" sz="1800" b="1" kern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社團活動與技藝課程</a:t>
          </a:r>
          <a:endParaRPr lang="en-US" altLang="zh-TW" sz="1800" b="1" kern="1200" dirty="0">
            <a:solidFill>
              <a:schemeClr val="tx1">
                <a:lumMod val="75000"/>
                <a:lumOff val="2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altLang="zh-TW" sz="1800" b="1" kern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3.</a:t>
          </a:r>
          <a:r>
            <a:rPr lang="zh-TW" sz="1800" b="1" kern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特殊需求領域課程</a:t>
          </a:r>
          <a:endParaRPr lang="en-US" altLang="zh-TW" sz="1800" b="1" kern="1200" dirty="0">
            <a:solidFill>
              <a:schemeClr val="tx1">
                <a:lumMod val="75000"/>
                <a:lumOff val="2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en-US" altLang="zh-TW" sz="1800" b="1" kern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4.</a:t>
          </a:r>
          <a:r>
            <a:rPr lang="zh-TW" sz="1800" b="1" kern="1200" dirty="0">
              <a:solidFill>
                <a:schemeClr val="tx1">
                  <a:lumMod val="75000"/>
                  <a:lumOff val="2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其他類課程</a:t>
          </a:r>
          <a:endParaRPr lang="zh-TW" altLang="en-US" sz="1800" b="1" kern="1200" dirty="0">
            <a:solidFill>
              <a:schemeClr val="tx1">
                <a:lumMod val="75000"/>
                <a:lumOff val="2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</dsp:txBody>
      <dsp:txXfrm>
        <a:off x="5188093" y="3155312"/>
        <a:ext cx="2786682" cy="229237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EF7902B-43A1-4A09-AE9F-20FF96F5004D}">
      <dsp:nvSpPr>
        <dsp:cNvPr id="0" name=""/>
        <dsp:cNvSpPr/>
      </dsp:nvSpPr>
      <dsp:spPr>
        <a:xfrm>
          <a:off x="2392" y="1367011"/>
          <a:ext cx="1537507" cy="777775"/>
        </a:xfrm>
        <a:prstGeom prst="homePlate">
          <a:avLst/>
        </a:prstGeom>
        <a:solidFill>
          <a:srgbClr val="FF66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1600" b="1" kern="1200" dirty="0">
              <a:latin typeface="微軟正黑體" pitchFamily="34" charset="-120"/>
              <a:ea typeface="微軟正黑體" pitchFamily="34" charset="-120"/>
            </a:rPr>
            <a:t>基本理念</a:t>
          </a:r>
          <a:endParaRPr lang="en-US" altLang="zh-TW" sz="1600" b="1" kern="1200" dirty="0">
            <a:latin typeface="微軟正黑體" pitchFamily="34" charset="-120"/>
            <a:ea typeface="微軟正黑體" pitchFamily="34" charset="-120"/>
          </a:endParaRPr>
        </a:p>
        <a:p>
          <a:pPr marL="0" lvl="0" indent="0" algn="ctr" defTabSz="711200">
            <a:lnSpc>
              <a:spcPct val="10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1600" b="1" kern="1200" dirty="0">
              <a:latin typeface="微軟正黑體" pitchFamily="34" charset="-120"/>
              <a:ea typeface="微軟正黑體" pitchFamily="34" charset="-120"/>
            </a:rPr>
            <a:t>課程目標</a:t>
          </a:r>
        </a:p>
      </dsp:txBody>
      <dsp:txXfrm>
        <a:off x="2392" y="1367011"/>
        <a:ext cx="1537507" cy="777775"/>
      </dsp:txXfrm>
    </dsp:sp>
    <dsp:sp modelId="{2987773D-40D6-47C5-9E21-993A5EA0A1C0}">
      <dsp:nvSpPr>
        <dsp:cNvPr id="0" name=""/>
        <dsp:cNvSpPr/>
      </dsp:nvSpPr>
      <dsp:spPr>
        <a:xfrm>
          <a:off x="1152197" y="2203400"/>
          <a:ext cx="1944439" cy="777775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1600" b="1" kern="1200" dirty="0">
              <a:latin typeface="微軟正黑體" pitchFamily="34" charset="-120"/>
              <a:ea typeface="微軟正黑體" pitchFamily="34" charset="-120"/>
            </a:rPr>
            <a:t>時間分配與科目組合</a:t>
          </a:r>
        </a:p>
      </dsp:txBody>
      <dsp:txXfrm>
        <a:off x="1152197" y="2203400"/>
        <a:ext cx="1944439" cy="777775"/>
      </dsp:txXfrm>
    </dsp:sp>
    <dsp:sp modelId="{6986A153-FD85-4AD8-9FAA-56C2F026FB3A}">
      <dsp:nvSpPr>
        <dsp:cNvPr id="0" name=""/>
        <dsp:cNvSpPr/>
      </dsp:nvSpPr>
      <dsp:spPr>
        <a:xfrm>
          <a:off x="2595873" y="1367011"/>
          <a:ext cx="2000769" cy="777775"/>
        </a:xfrm>
        <a:prstGeom prst="chevron">
          <a:avLst/>
        </a:prstGeom>
        <a:solidFill>
          <a:srgbClr val="FF66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000" b="1" kern="1200" dirty="0">
              <a:latin typeface="微軟正黑體" pitchFamily="34" charset="-120"/>
              <a:ea typeface="微軟正黑體" pitchFamily="34" charset="-120"/>
            </a:rPr>
            <a:t>核心素養</a:t>
          </a:r>
        </a:p>
      </dsp:txBody>
      <dsp:txXfrm>
        <a:off x="2595873" y="1367011"/>
        <a:ext cx="2000769" cy="777775"/>
      </dsp:txXfrm>
    </dsp:sp>
    <dsp:sp modelId="{384BEAAA-FABD-457B-A04A-1DDC580ABBDB}">
      <dsp:nvSpPr>
        <dsp:cNvPr id="0" name=""/>
        <dsp:cNvSpPr/>
      </dsp:nvSpPr>
      <dsp:spPr>
        <a:xfrm>
          <a:off x="4319631" y="2203400"/>
          <a:ext cx="2208105" cy="777775"/>
        </a:xfrm>
        <a:prstGeom prst="chevron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000" b="1" kern="1200" dirty="0">
              <a:latin typeface="微軟正黑體" pitchFamily="34" charset="-120"/>
              <a:ea typeface="微軟正黑體" pitchFamily="34" charset="-120"/>
            </a:rPr>
            <a:t>學習重點</a:t>
          </a:r>
        </a:p>
      </dsp:txBody>
      <dsp:txXfrm>
        <a:off x="4319631" y="2203400"/>
        <a:ext cx="2208105" cy="777775"/>
      </dsp:txXfrm>
    </dsp:sp>
    <dsp:sp modelId="{B4AFAA56-882D-4ECF-9346-6770D3FA1A58}">
      <dsp:nvSpPr>
        <dsp:cNvPr id="0" name=""/>
        <dsp:cNvSpPr/>
      </dsp:nvSpPr>
      <dsp:spPr>
        <a:xfrm>
          <a:off x="6138848" y="2203400"/>
          <a:ext cx="1944439" cy="777775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000" b="1" kern="1200" dirty="0">
              <a:latin typeface="微軟正黑體" pitchFamily="34" charset="-120"/>
              <a:ea typeface="微軟正黑體" pitchFamily="34" charset="-120"/>
            </a:rPr>
            <a:t>實施要點</a:t>
          </a:r>
        </a:p>
      </dsp:txBody>
      <dsp:txXfrm>
        <a:off x="6138848" y="2203400"/>
        <a:ext cx="1944439" cy="777775"/>
      </dsp:txXfrm>
    </dsp:sp>
    <dsp:sp modelId="{ADC846DB-B548-4A6B-8073-EF8FFC11473B}">
      <dsp:nvSpPr>
        <dsp:cNvPr id="0" name=""/>
        <dsp:cNvSpPr/>
      </dsp:nvSpPr>
      <dsp:spPr>
        <a:xfrm>
          <a:off x="7694400" y="2203400"/>
          <a:ext cx="1446021" cy="777775"/>
        </a:xfrm>
        <a:prstGeom prst="chevron">
          <a:avLst/>
        </a:prstGeom>
        <a:solidFill>
          <a:schemeClr val="tx2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53340" rIns="26670" bIns="5334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000" b="1" kern="1200" dirty="0">
              <a:latin typeface="微軟正黑體" pitchFamily="34" charset="-120"/>
              <a:ea typeface="微軟正黑體" pitchFamily="34" charset="-120"/>
            </a:rPr>
            <a:t>附錄</a:t>
          </a:r>
        </a:p>
      </dsp:txBody>
      <dsp:txXfrm>
        <a:off x="7694400" y="2203400"/>
        <a:ext cx="1446021" cy="777775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7E6BA97-39DF-4F4E-A175-4D17A253BD25}">
      <dsp:nvSpPr>
        <dsp:cNvPr id="0" name=""/>
        <dsp:cNvSpPr/>
      </dsp:nvSpPr>
      <dsp:spPr>
        <a:xfrm>
          <a:off x="2759817" y="0"/>
          <a:ext cx="4881003" cy="2255089"/>
        </a:xfrm>
        <a:prstGeom prst="rightArrow">
          <a:avLst>
            <a:gd name="adj1" fmla="val 75000"/>
            <a:gd name="adj2" fmla="val 50000"/>
          </a:avLst>
        </a:prstGeom>
        <a:noFill/>
        <a:ln w="38100" cap="flat" cmpd="sng" algn="ctr">
          <a:solidFill>
            <a:srgbClr val="FF990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228600" lvl="1" indent="-228600" algn="l" defTabSz="8890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     連結國中小及高中的學習經驗。</a:t>
          </a:r>
        </a:p>
        <a:p>
          <a:pPr marL="228600" lvl="1" indent="-228600" algn="l" defTabSz="889000">
            <a:lnSpc>
              <a:spcPct val="10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     從能力、學科導向到素養導向，</a:t>
          </a:r>
          <a:br>
            <a:rPr lang="en-US" altLang="zh-TW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</a:br>
          <a:r>
            <a: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      建立以學習者為主體的教學。</a:t>
          </a:r>
        </a:p>
      </dsp:txBody>
      <dsp:txXfrm>
        <a:off x="2759817" y="281886"/>
        <a:ext cx="4035345" cy="1691317"/>
      </dsp:txXfrm>
    </dsp:sp>
    <dsp:sp modelId="{2CB5F0A6-FEAF-4CDC-9494-9705B8448794}">
      <dsp:nvSpPr>
        <dsp:cNvPr id="0" name=""/>
        <dsp:cNvSpPr/>
      </dsp:nvSpPr>
      <dsp:spPr>
        <a:xfrm>
          <a:off x="171876" y="350820"/>
          <a:ext cx="2443430" cy="1556561"/>
        </a:xfrm>
        <a:prstGeom prst="roundRect">
          <a:avLst/>
        </a:prstGeom>
        <a:solidFill>
          <a:schemeClr val="accent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600" b="1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rPr>
            <a:t>立基現在</a:t>
          </a:r>
        </a:p>
      </dsp:txBody>
      <dsp:txXfrm>
        <a:off x="247861" y="426805"/>
        <a:ext cx="2291460" cy="1404591"/>
      </dsp:txXfrm>
    </dsp:sp>
    <dsp:sp modelId="{B80303D5-5406-448C-91BC-551963E19710}">
      <dsp:nvSpPr>
        <dsp:cNvPr id="0" name=""/>
        <dsp:cNvSpPr/>
      </dsp:nvSpPr>
      <dsp:spPr>
        <a:xfrm>
          <a:off x="2888659" y="2497321"/>
          <a:ext cx="4881003" cy="2483743"/>
        </a:xfrm>
        <a:prstGeom prst="rightArrow">
          <a:avLst>
            <a:gd name="adj1" fmla="val 75000"/>
            <a:gd name="adj2" fmla="val 50000"/>
          </a:avLst>
        </a:prstGeom>
        <a:noFill/>
        <a:ln w="38100" cap="flat" cmpd="sng" algn="ctr">
          <a:solidFill>
            <a:srgbClr val="0070C0">
              <a:alpha val="9000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539750" lvl="1" indent="-53975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涵育公民素養，強調探究、參與、實踐、反思及創新。</a:t>
          </a:r>
        </a:p>
        <a:p>
          <a:pPr marL="542925" lvl="1" indent="-542925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zh-TW" altLang="en-US" sz="20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顧及不同地區、族群及學校類型特色，提供課程發展彈性。</a:t>
          </a:r>
        </a:p>
      </dsp:txBody>
      <dsp:txXfrm>
        <a:off x="2888659" y="2807789"/>
        <a:ext cx="3949599" cy="1862807"/>
      </dsp:txXfrm>
    </dsp:sp>
    <dsp:sp modelId="{0C768078-C5F3-4244-B551-EBA97A49AD13}">
      <dsp:nvSpPr>
        <dsp:cNvPr id="0" name=""/>
        <dsp:cNvSpPr/>
      </dsp:nvSpPr>
      <dsp:spPr>
        <a:xfrm>
          <a:off x="203049" y="2830614"/>
          <a:ext cx="2475091" cy="1708765"/>
        </a:xfrm>
        <a:prstGeom prst="roundRect">
          <a:avLst/>
        </a:prstGeom>
        <a:solidFill>
          <a:schemeClr val="tx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7160" tIns="68580" rIns="137160" bIns="68580" numCol="1" spcCol="1270" anchor="ctr" anchorCtr="0">
          <a:noAutofit/>
        </a:bodyPr>
        <a:lstStyle/>
        <a:p>
          <a:pPr marL="0" lvl="0" indent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3600" b="1" kern="1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rPr>
            <a:t>展望未來</a:t>
          </a:r>
        </a:p>
      </dsp:txBody>
      <dsp:txXfrm>
        <a:off x="286464" y="2914029"/>
        <a:ext cx="2308261" cy="1541935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A9E9A45-3563-4AA5-B51B-92A2F463EB52}">
      <dsp:nvSpPr>
        <dsp:cNvPr id="0" name=""/>
        <dsp:cNvSpPr/>
      </dsp:nvSpPr>
      <dsp:spPr>
        <a:xfrm>
          <a:off x="825606" y="62839"/>
          <a:ext cx="1420425" cy="1060097"/>
        </a:xfrm>
        <a:prstGeom prst="triangl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ts val="13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1400" kern="12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經驗</a:t>
          </a:r>
          <a:endParaRPr lang="en-US" altLang="zh-TW" sz="1400" kern="1200" dirty="0">
            <a:solidFill>
              <a:schemeClr val="tx1">
                <a:lumMod val="85000"/>
                <a:lumOff val="1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622300">
            <a:lnSpc>
              <a:spcPts val="13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1400" kern="12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世界</a:t>
          </a:r>
        </a:p>
      </dsp:txBody>
      <dsp:txXfrm>
        <a:off x="1180712" y="592888"/>
        <a:ext cx="710213" cy="530048"/>
      </dsp:txXfrm>
    </dsp:sp>
    <dsp:sp modelId="{2673FF04-05D2-497D-98C9-B576F4142C03}">
      <dsp:nvSpPr>
        <dsp:cNvPr id="0" name=""/>
        <dsp:cNvSpPr/>
      </dsp:nvSpPr>
      <dsp:spPr>
        <a:xfrm>
          <a:off x="144239" y="1128421"/>
          <a:ext cx="1385053" cy="937058"/>
        </a:xfrm>
        <a:prstGeom prst="triangl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ts val="13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1400" kern="12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學習</a:t>
          </a:r>
          <a:endParaRPr lang="en-US" altLang="zh-TW" sz="1400" kern="1200" dirty="0">
            <a:solidFill>
              <a:schemeClr val="tx1">
                <a:lumMod val="85000"/>
                <a:lumOff val="1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622300">
            <a:lnSpc>
              <a:spcPts val="13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1400" kern="12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策略</a:t>
          </a:r>
        </a:p>
      </dsp:txBody>
      <dsp:txXfrm>
        <a:off x="490502" y="1596950"/>
        <a:ext cx="692527" cy="468529"/>
      </dsp:txXfrm>
    </dsp:sp>
    <dsp:sp modelId="{33400226-84EA-4FCB-B0F6-1EFBB0C76297}">
      <dsp:nvSpPr>
        <dsp:cNvPr id="0" name=""/>
        <dsp:cNvSpPr/>
      </dsp:nvSpPr>
      <dsp:spPr>
        <a:xfrm rot="10800000">
          <a:off x="808844" y="1130537"/>
          <a:ext cx="1428316" cy="939767"/>
        </a:xfrm>
        <a:prstGeom prst="triangl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altLang="zh-TW" sz="1100" kern="1200" dirty="0">
            <a:solidFill>
              <a:schemeClr val="tx1">
                <a:lumMod val="85000"/>
                <a:lumOff val="1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488950">
            <a:lnSpc>
              <a:spcPts val="13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1400" kern="12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素養</a:t>
          </a:r>
          <a:endParaRPr lang="en-US" altLang="zh-TW" sz="1400" kern="1200" dirty="0">
            <a:solidFill>
              <a:schemeClr val="tx1">
                <a:lumMod val="85000"/>
                <a:lumOff val="1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488950">
            <a:lnSpc>
              <a:spcPts val="13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1400" kern="12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導向</a:t>
          </a:r>
        </a:p>
      </dsp:txBody>
      <dsp:txXfrm rot="10800000">
        <a:off x="1165923" y="1130537"/>
        <a:ext cx="714158" cy="469883"/>
      </dsp:txXfrm>
    </dsp:sp>
    <dsp:sp modelId="{F721195A-E3B1-402B-9ACA-1A19141E2572}">
      <dsp:nvSpPr>
        <dsp:cNvPr id="0" name=""/>
        <dsp:cNvSpPr/>
      </dsp:nvSpPr>
      <dsp:spPr>
        <a:xfrm>
          <a:off x="1522258" y="1122937"/>
          <a:ext cx="1395654" cy="931036"/>
        </a:xfrm>
        <a:prstGeom prst="triangl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ts val="13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1400" kern="12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語文</a:t>
          </a:r>
          <a:endParaRPr lang="en-US" altLang="zh-TW" sz="1400" kern="1200" dirty="0">
            <a:solidFill>
              <a:schemeClr val="tx1">
                <a:lumMod val="85000"/>
                <a:lumOff val="15000"/>
              </a:schemeClr>
            </a:solidFill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622300">
            <a:lnSpc>
              <a:spcPts val="13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1400" kern="1200" dirty="0">
              <a:solidFill>
                <a:schemeClr val="tx1">
                  <a:lumMod val="85000"/>
                  <a:lumOff val="1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rPr>
            <a:t>實用</a:t>
          </a:r>
        </a:p>
      </dsp:txBody>
      <dsp:txXfrm>
        <a:off x="1871172" y="1588455"/>
        <a:ext cx="697827" cy="46551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F532DBC-9E98-497E-986F-1912179037C5}">
      <dsp:nvSpPr>
        <dsp:cNvPr id="0" name=""/>
        <dsp:cNvSpPr/>
      </dsp:nvSpPr>
      <dsp:spPr>
        <a:xfrm>
          <a:off x="2156" y="337626"/>
          <a:ext cx="2163570" cy="2163570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19068" tIns="30480" rIns="11906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整合</a:t>
          </a:r>
          <a:endParaRPr lang="en-US" altLang="zh-TW" sz="24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知識、技能與態度</a:t>
          </a:r>
        </a:p>
      </dsp:txBody>
      <dsp:txXfrm>
        <a:off x="2156" y="337626"/>
        <a:ext cx="2163570" cy="2163570"/>
      </dsp:txXfrm>
    </dsp:sp>
    <dsp:sp modelId="{F51AB7F1-96CF-4866-8CDB-54F378C2AEB6}">
      <dsp:nvSpPr>
        <dsp:cNvPr id="0" name=""/>
        <dsp:cNvSpPr/>
      </dsp:nvSpPr>
      <dsp:spPr>
        <a:xfrm>
          <a:off x="1733012" y="337626"/>
          <a:ext cx="2163570" cy="2163570"/>
        </a:xfrm>
        <a:prstGeom prst="ellipse">
          <a:avLst/>
        </a:prstGeom>
        <a:solidFill>
          <a:schemeClr val="accent4">
            <a:alpha val="50000"/>
            <a:hueOff val="3465231"/>
            <a:satOff val="-15989"/>
            <a:lumOff val="58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19068" tIns="30480" rIns="11906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導入</a:t>
          </a:r>
          <a:endParaRPr lang="en-US" altLang="zh-TW" sz="24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情境脈絡化的學習</a:t>
          </a:r>
        </a:p>
      </dsp:txBody>
      <dsp:txXfrm>
        <a:off x="1733012" y="337626"/>
        <a:ext cx="2163570" cy="2163570"/>
      </dsp:txXfrm>
    </dsp:sp>
    <dsp:sp modelId="{7559D296-669B-4078-B3E6-CE2EE71EA6FC}">
      <dsp:nvSpPr>
        <dsp:cNvPr id="0" name=""/>
        <dsp:cNvSpPr/>
      </dsp:nvSpPr>
      <dsp:spPr>
        <a:xfrm>
          <a:off x="3463868" y="337626"/>
          <a:ext cx="2163570" cy="2163570"/>
        </a:xfrm>
        <a:prstGeom prst="ellipse">
          <a:avLst/>
        </a:prstGeom>
        <a:solidFill>
          <a:schemeClr val="accent4">
            <a:alpha val="50000"/>
            <a:hueOff val="6930461"/>
            <a:satOff val="-31979"/>
            <a:lumOff val="117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19068" tIns="30480" rIns="11906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強調</a:t>
          </a:r>
          <a:endParaRPr lang="en-US" altLang="zh-TW" sz="24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學習方法及策略</a:t>
          </a:r>
        </a:p>
      </dsp:txBody>
      <dsp:txXfrm>
        <a:off x="3463868" y="337626"/>
        <a:ext cx="2163570" cy="2163570"/>
      </dsp:txXfrm>
    </dsp:sp>
    <dsp:sp modelId="{55F2D30D-5558-4A71-A60E-D399E1E44DE7}">
      <dsp:nvSpPr>
        <dsp:cNvPr id="0" name=""/>
        <dsp:cNvSpPr/>
      </dsp:nvSpPr>
      <dsp:spPr>
        <a:xfrm>
          <a:off x="5194724" y="337626"/>
          <a:ext cx="2163570" cy="2163570"/>
        </a:xfrm>
        <a:prstGeom prst="ellipse">
          <a:avLst/>
        </a:prstGeom>
        <a:solidFill>
          <a:schemeClr val="accent4">
            <a:alpha val="50000"/>
            <a:hueOff val="10395692"/>
            <a:satOff val="-47968"/>
            <a:lumOff val="176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19068" tIns="30480" rIns="119068" bIns="30480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著重</a:t>
          </a:r>
          <a:endParaRPr lang="en-US" altLang="zh-TW" sz="2400" kern="1200" dirty="0">
            <a:latin typeface="微軟正黑體" panose="020B0604030504040204" pitchFamily="34" charset="-120"/>
            <a:ea typeface="微軟正黑體" panose="020B0604030504040204" pitchFamily="34" charset="-120"/>
          </a:endParaRPr>
        </a:p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ts val="0"/>
            </a:spcAft>
            <a:buNone/>
          </a:pPr>
          <a:r>
            <a:rPr lang="zh-TW" altLang="en-US" sz="2400" kern="1200" dirty="0">
              <a:latin typeface="微軟正黑體" panose="020B0604030504040204" pitchFamily="34" charset="-120"/>
              <a:ea typeface="微軟正黑體" panose="020B0604030504040204" pitchFamily="34" charset="-120"/>
            </a:rPr>
            <a:t>活用實踐的表現</a:t>
          </a:r>
        </a:p>
      </dsp:txBody>
      <dsp:txXfrm>
        <a:off x="5194724" y="337626"/>
        <a:ext cx="2163570" cy="2163570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61AB80-29D4-47A4-956C-7201E6448AEA}">
      <dsp:nvSpPr>
        <dsp:cNvPr id="0" name=""/>
        <dsp:cNvSpPr/>
      </dsp:nvSpPr>
      <dsp:spPr>
        <a:xfrm>
          <a:off x="4241" y="0"/>
          <a:ext cx="2469058" cy="620688"/>
        </a:xfrm>
        <a:prstGeom prst="chevron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國小社會</a:t>
          </a:r>
        </a:p>
      </dsp:txBody>
      <dsp:txXfrm>
        <a:off x="4241" y="0"/>
        <a:ext cx="2469058" cy="620688"/>
      </dsp:txXfrm>
    </dsp:sp>
    <dsp:sp modelId="{B6EE1DFF-800C-4A7E-A5B3-B2A8664B6FB9}">
      <dsp:nvSpPr>
        <dsp:cNvPr id="0" name=""/>
        <dsp:cNvSpPr/>
      </dsp:nvSpPr>
      <dsp:spPr>
        <a:xfrm>
          <a:off x="2226394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歷史</a:t>
          </a:r>
        </a:p>
      </dsp:txBody>
      <dsp:txXfrm>
        <a:off x="2226394" y="0"/>
        <a:ext cx="2469058" cy="620688"/>
      </dsp:txXfrm>
    </dsp:sp>
    <dsp:sp modelId="{5FB8DA8F-99A9-4822-8B47-9317B56FA977}">
      <dsp:nvSpPr>
        <dsp:cNvPr id="0" name=""/>
        <dsp:cNvSpPr/>
      </dsp:nvSpPr>
      <dsp:spPr>
        <a:xfrm>
          <a:off x="4448547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地理</a:t>
          </a:r>
        </a:p>
      </dsp:txBody>
      <dsp:txXfrm>
        <a:off x="4448547" y="0"/>
        <a:ext cx="2469058" cy="620688"/>
      </dsp:txXfrm>
    </dsp:sp>
    <dsp:sp modelId="{23C7B257-B1D5-43F5-AC4E-858CCCD23FD7}">
      <dsp:nvSpPr>
        <dsp:cNvPr id="0" name=""/>
        <dsp:cNvSpPr/>
      </dsp:nvSpPr>
      <dsp:spPr>
        <a:xfrm>
          <a:off x="6670699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公民與社會</a:t>
          </a:r>
        </a:p>
      </dsp:txBody>
      <dsp:txXfrm>
        <a:off x="6670699" y="0"/>
        <a:ext cx="2469058" cy="620688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861AB80-29D4-47A4-956C-7201E6448AEA}">
      <dsp:nvSpPr>
        <dsp:cNvPr id="0" name=""/>
        <dsp:cNvSpPr/>
      </dsp:nvSpPr>
      <dsp:spPr>
        <a:xfrm>
          <a:off x="4241" y="0"/>
          <a:ext cx="2469058" cy="620688"/>
        </a:xfrm>
        <a:prstGeom prst="chevron">
          <a:avLst/>
        </a:prstGeom>
        <a:solidFill>
          <a:srgbClr val="00206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國小社會</a:t>
          </a:r>
        </a:p>
      </dsp:txBody>
      <dsp:txXfrm>
        <a:off x="4241" y="0"/>
        <a:ext cx="2469058" cy="620688"/>
      </dsp:txXfrm>
    </dsp:sp>
    <dsp:sp modelId="{B6EE1DFF-800C-4A7E-A5B3-B2A8664B6FB9}">
      <dsp:nvSpPr>
        <dsp:cNvPr id="0" name=""/>
        <dsp:cNvSpPr/>
      </dsp:nvSpPr>
      <dsp:spPr>
        <a:xfrm>
          <a:off x="2226394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歷史</a:t>
          </a:r>
        </a:p>
      </dsp:txBody>
      <dsp:txXfrm>
        <a:off x="2226394" y="0"/>
        <a:ext cx="2469058" cy="620688"/>
      </dsp:txXfrm>
    </dsp:sp>
    <dsp:sp modelId="{5FB8DA8F-99A9-4822-8B47-9317B56FA977}">
      <dsp:nvSpPr>
        <dsp:cNvPr id="0" name=""/>
        <dsp:cNvSpPr/>
      </dsp:nvSpPr>
      <dsp:spPr>
        <a:xfrm>
          <a:off x="4448547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地理</a:t>
          </a:r>
        </a:p>
      </dsp:txBody>
      <dsp:txXfrm>
        <a:off x="4448547" y="0"/>
        <a:ext cx="2469058" cy="620688"/>
      </dsp:txXfrm>
    </dsp:sp>
    <dsp:sp modelId="{23C7B257-B1D5-43F5-AC4E-858CCCD23FD7}">
      <dsp:nvSpPr>
        <dsp:cNvPr id="0" name=""/>
        <dsp:cNvSpPr/>
      </dsp:nvSpPr>
      <dsp:spPr>
        <a:xfrm>
          <a:off x="6670699" y="0"/>
          <a:ext cx="2469058" cy="620688"/>
        </a:xfrm>
        <a:prstGeom prst="chevron">
          <a:avLst/>
        </a:prstGeom>
        <a:solidFill>
          <a:schemeClr val="tx2">
            <a:lumMod val="40000"/>
            <a:lumOff val="6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marL="0" lvl="0" indent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zh-TW" altLang="en-US" sz="2400" b="1" kern="1200" dirty="0">
              <a:latin typeface="標楷體" panose="03000509000000000000" pitchFamily="65" charset="-120"/>
              <a:ea typeface="標楷體" panose="03000509000000000000" pitchFamily="65" charset="-120"/>
            </a:rPr>
            <a:t>公民與社會</a:t>
          </a:r>
        </a:p>
      </dsp:txBody>
      <dsp:txXfrm>
        <a:off x="6670699" y="0"/>
        <a:ext cx="2469058" cy="62068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matrix2">
  <dgm:title val=""/>
  <dgm:desc val=""/>
  <dgm:catLst>
    <dgm:cat type="matrix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0" destOrd="0"/>
        <dgm:cxn modelId="8" srcId="0" destId="4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matrix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l" for="ch" forName="rect1" refType="w" fact="0.065"/>
          <dgm:constr type="t" for="ch" forName="rect1" refType="h" fact="0.065"/>
          <dgm:constr type="w" for="ch" forName="rect2" refType="w" fact="0.4"/>
          <dgm:constr type="h" for="ch" forName="rect2" refType="h" fact="0.4"/>
          <dgm:constr type="r" for="ch" forName="rect2" refType="w" fact="0.935"/>
          <dgm:constr type="t" for="ch" forName="rect2" refType="h" fact="0.065"/>
          <dgm:constr type="w" for="ch" forName="rect3" refType="w" fact="0.4"/>
          <dgm:constr type="h" for="ch" forName="rect3" refType="w" fact="0.4"/>
          <dgm:constr type="l" for="ch" forName="rect3" refType="w" fact="0.065"/>
          <dgm:constr type="b" for="ch" forName="rect3" refType="h" fact="0.935"/>
          <dgm:constr type="w" for="ch" forName="rect4" refType="w" fact="0.4"/>
          <dgm:constr type="h" for="ch" forName="rect4" refType="h" fact="0.4"/>
          <dgm:constr type="r" for="ch" forName="rect4" refType="w" fact="0.935"/>
          <dgm:constr type="b" for="ch" forName="rect4" refType="h" fact="0.935"/>
        </dgm:constrLst>
      </dgm:if>
      <dgm:else name="Name2">
        <dgm:constrLst>
          <dgm:constr type="primFontSz" for="ch" ptType="node" op="equ" val="65"/>
          <dgm:constr type="w" for="ch" forName="axisShape" refType="w"/>
          <dgm:constr type="h" for="ch" forName="axisShape" refType="h"/>
          <dgm:constr type="w" for="ch" forName="rect1" refType="w" fact="0.4"/>
          <dgm:constr type="h" for="ch" forName="rect1" refType="w" fact="0.4"/>
          <dgm:constr type="r" for="ch" forName="rect1" refType="w" fact="0.935"/>
          <dgm:constr type="t" for="ch" forName="rect1" refType="h" fact="0.065"/>
          <dgm:constr type="w" for="ch" forName="rect2" refType="w" fact="0.4"/>
          <dgm:constr type="h" for="ch" forName="rect2" refType="h" fact="0.4"/>
          <dgm:constr type="l" for="ch" forName="rect2" refType="w" fact="0.065"/>
          <dgm:constr type="t" for="ch" forName="rect2" refType="h" fact="0.065"/>
          <dgm:constr type="w" for="ch" forName="rect3" refType="w" fact="0.4"/>
          <dgm:constr type="h" for="ch" forName="rect3" refType="w" fact="0.4"/>
          <dgm:constr type="r" for="ch" forName="rect3" refType="w" fact="0.935"/>
          <dgm:constr type="b" for="ch" forName="rect3" refType="h" fact="0.935"/>
          <dgm:constr type="w" for="ch" forName="rect4" refType="w" fact="0.4"/>
          <dgm:constr type="h" for="ch" forName="rect4" refType="h" fact="0.4"/>
          <dgm:constr type="l" for="ch" forName="rect4" refType="w" fact="0.065"/>
          <dgm:constr type="b" for="ch" forName="rect4" refType="h" fact="0.935"/>
        </dgm:constrLst>
      </dgm:else>
    </dgm:choose>
    <dgm:ruleLst/>
    <dgm:choose name="Name3">
      <dgm:if name="Name4" axis="ch" ptType="node" func="cnt" op="gte" val="1">
        <dgm:layoutNode name="axisShape" styleLbl="bgShp">
          <dgm:alg type="sp"/>
          <dgm:shape xmlns:r="http://schemas.openxmlformats.org/officeDocument/2006/relationships" type="quadArrow" r:blip="">
            <dgm:adjLst>
              <dgm:adj idx="1" val="0.02"/>
              <dgm:adj idx="2" val="0.04"/>
              <dgm:adj idx="3" val="0.05"/>
            </dgm:adjLst>
          </dgm:shape>
          <dgm:presOf/>
          <dgm:constrLst/>
          <dgm:ruleLst/>
        </dgm:layoutNode>
        <dgm:layoutNode name="rect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2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2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3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rect4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ch desOrSelf" ptType="node node" st="4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5"/>
    </dgm:choose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6">
  <dgm:title val=""/>
  <dgm:desc val=""/>
  <dgm:catLst>
    <dgm:cat type="cycle" pri="4000"/>
    <dgm:cat type="relationship" pri="2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  <dgm:param type="endSty" val="noArr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01"/>
                <dgm:constr type="endPad" refType="connDist" fact="0.01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2.xml><?xml version="1.0" encoding="utf-8"?>
<dgm:layoutDef xmlns:dgm="http://schemas.openxmlformats.org/drawingml/2006/diagram" xmlns:a="http://schemas.openxmlformats.org/drawingml/2006/main" uniqueId="urn:microsoft.com/office/officeart/2005/8/layout/bList2#1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23.xml><?xml version="1.0" encoding="utf-8"?>
<dgm:layoutDef xmlns:dgm="http://schemas.openxmlformats.org/drawingml/2006/diagram" xmlns:a="http://schemas.openxmlformats.org/drawingml/2006/main" uniqueId="urn:microsoft.com/office/officeart/2005/8/layout/bList2#1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4">
  <dgm:title val=""/>
  <dgm:desc val=""/>
  <dgm:catLst>
    <dgm:cat type="pyramid" pri="4000"/>
    <dgm:cat type="relationship" pri="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varLst>
      <dgm:chMax val="9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4">
        <dgm:choose name="Name2">
          <dgm:if name="Name3" axis="ch" ptType="node" func="cnt" op="equ" val="1">
            <dgm:constrLst>
              <dgm:constr type="primFontSz" for="ch" ptType="node" op="equ" val="65"/>
              <dgm:constr type="t" for="ch" forName="triangle1"/>
              <dgm:constr type="l" for="ch" forName="triangle1"/>
              <dgm:constr type="h" for="ch" forName="triangle1" refType="h"/>
              <dgm:constr type="w" for="ch" forName="triangle1" refType="h"/>
            </dgm:constrLst>
          </dgm:if>
          <dgm:else name="Name4">
            <dgm:constrLst>
              <dgm:constr type="primFontSz" for="ch" ptType="node" op="equ" val="65"/>
              <dgm:constr type="t" for="ch" forName="triangle1"/>
              <dgm:constr type="l" for="ch" forName="triangle1" refType="h" fact="0.25"/>
              <dgm:constr type="h" for="ch" forName="triangle1" refType="h" fact="0.5"/>
              <dgm:constr type="w" for="ch" forName="triangle1" refType="h" fact="0.5"/>
              <dgm:constr type="t" for="ch" forName="triangle2" refType="h" fact="0.5"/>
              <dgm:constr type="l" for="ch" forName="triangle2"/>
              <dgm:constr type="h" for="ch" forName="triangle2" refType="h" fact="0.5"/>
              <dgm:constr type="w" for="ch" forName="triangle2" refType="h" fact="0.5"/>
              <dgm:constr type="t" for="ch" forName="triangle3" refType="h" fact="0.5"/>
              <dgm:constr type="l" for="ch" forName="triangle3" refType="h" fact="0.25"/>
              <dgm:constr type="h" for="ch" forName="triangle3" refType="h" fact="0.5"/>
              <dgm:constr type="w" for="ch" forName="triangle3" refType="h" fact="0.5"/>
              <dgm:constr type="t" for="ch" forName="triangle4" refType="h" fact="0.5"/>
              <dgm:constr type="l" for="ch" forName="triangle4" refType="h" fact="0.5"/>
              <dgm:constr type="h" for="ch" forName="triangle4" refType="h" fact="0.5"/>
              <dgm:constr type="w" for="ch" forName="triangle4" refType="h" fact="0.5"/>
            </dgm:constrLst>
          </dgm:else>
        </dgm:choose>
      </dgm:if>
      <dgm:else name="Name5">
        <dgm:constrLst>
          <dgm:constr type="primFontSz" for="ch" ptType="node" op="equ" val="65"/>
          <dgm:constr type="t" for="ch" forName="triangle1"/>
          <dgm:constr type="l" for="ch" forName="triangle1" refType="h" fact="0.33"/>
          <dgm:constr type="h" for="ch" forName="triangle1" refType="h" fact="0.33"/>
          <dgm:constr type="w" for="ch" forName="triangle1" refType="h" fact="0.33"/>
          <dgm:constr type="t" for="ch" forName="triangle2" refType="h" fact="0.33"/>
          <dgm:constr type="l" for="ch" forName="triangle2" refType="h" fact="0.165"/>
          <dgm:constr type="h" for="ch" forName="triangle2" refType="h" fact="0.33"/>
          <dgm:constr type="w" for="ch" forName="triangle2" refType="h" fact="0.33"/>
          <dgm:constr type="t" for="ch" forName="triangle3" refType="h" fact="0.33"/>
          <dgm:constr type="l" for="ch" forName="triangle3" refType="h" fact="0.33"/>
          <dgm:constr type="h" for="ch" forName="triangle3" refType="h" fact="0.33"/>
          <dgm:constr type="w" for="ch" forName="triangle3" refType="h" fact="0.33"/>
          <dgm:constr type="t" for="ch" forName="triangle4" refType="h" fact="0.33"/>
          <dgm:constr type="l" for="ch" forName="triangle4" refType="h" fact="0.495"/>
          <dgm:constr type="h" for="ch" forName="triangle4" refType="h" fact="0.33"/>
          <dgm:constr type="w" for="ch" forName="triangle4" refType="h" fact="0.33"/>
          <dgm:constr type="t" for="ch" forName="triangle5" refType="h" fact="0.66"/>
          <dgm:constr type="l" for="ch" forName="triangle5"/>
          <dgm:constr type="h" for="ch" forName="triangle5" refType="h" fact="0.33"/>
          <dgm:constr type="w" for="ch" forName="triangle5" refType="h" fact="0.33"/>
          <dgm:constr type="t" for="ch" forName="triangle6" refType="h" fact="0.66"/>
          <dgm:constr type="l" for="ch" forName="triangle6" refType="h" fact="0.165"/>
          <dgm:constr type="h" for="ch" forName="triangle6" refType="h" fact="0.33"/>
          <dgm:constr type="w" for="ch" forName="triangle6" refType="h" fact="0.33"/>
          <dgm:constr type="t" for="ch" forName="triangle7" refType="h" fact="0.66"/>
          <dgm:constr type="l" for="ch" forName="triangle7" refType="h" fact="0.33"/>
          <dgm:constr type="h" for="ch" forName="triangle7" refType="h" fact="0.33"/>
          <dgm:constr type="w" for="ch" forName="triangle7" refType="h" fact="0.33"/>
          <dgm:constr type="t" for="ch" forName="triangle8" refType="h" fact="0.66"/>
          <dgm:constr type="l" for="ch" forName="triangle8" refType="h" fact="0.495"/>
          <dgm:constr type="h" for="ch" forName="triangle8" refType="h" fact="0.33"/>
          <dgm:constr type="w" for="ch" forName="triangle8" refType="h" fact="0.33"/>
          <dgm:constr type="t" for="ch" forName="triangle9" refType="h" fact="0.66"/>
          <dgm:constr type="l" for="ch" forName="triangle9" refType="h" fact="0.66"/>
          <dgm:constr type="h" for="ch" forName="triangle9" refType="h" fact="0.33"/>
          <dgm:constr type="w" for="ch" forName="triangle9" refType="h" fact="0.33"/>
        </dgm:constrLst>
      </dgm:else>
    </dgm:choose>
    <dgm:ruleLst/>
    <dgm:choose name="Name6">
      <dgm:if name="Name7" axis="ch" ptType="node" func="cnt" op="gte" val="1">
        <dgm:layoutNode name="triangle1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1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8"/>
    </dgm:choose>
    <dgm:choose name="Name9">
      <dgm:if name="Name10" axis="ch" ptType="node" func="cnt" op="gte" val="2">
        <dgm:layoutNode name="triangle2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1">
            <dgm:if name="Name12" func="var" arg="dir" op="equ" val="norm">
              <dgm:presOf axis="ch desOrSelf" ptType="node node" st="2 1" cnt="1 0"/>
            </dgm:if>
            <dgm:else name="Name13">
              <dgm:presOf axis="ch desOrSelf" ptType="node node" st="4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3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presOf axis="ch desOrSelf" ptType="node node" st="3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4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14">
            <dgm:if name="Name15" func="var" arg="dir" op="equ" val="norm">
              <dgm:presOf axis="ch desOrSelf" ptType="node node" st="4 1" cnt="1 0"/>
            </dgm:if>
            <dgm:else name="Name16">
              <dgm:presOf axis="ch desOrSelf" ptType="node node" st="2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17"/>
    </dgm:choose>
    <dgm:choose name="Name18">
      <dgm:if name="Name19" axis="ch" ptType="node" func="cnt" op="gte" val="5">
        <dgm:layoutNode name="triangle5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0">
            <dgm:if name="Name21" func="var" arg="dir" op="equ" val="norm">
              <dgm:presOf axis="ch desOrSelf" ptType="node node" st="5 1" cnt="1 0"/>
            </dgm:if>
            <dgm:else name="Name22">
              <dgm:presOf axis="ch desOrSelf" ptType="node node" st="9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6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3">
            <dgm:if name="Name24" func="var" arg="dir" op="equ" val="norm">
              <dgm:presOf axis="ch desOrSelf" ptType="node node" st="6 1" cnt="1 0"/>
            </dgm:if>
            <dgm:else name="Name25">
              <dgm:presOf axis="ch desOrSelf" ptType="node node" st="8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7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presOf axis="ch desOrSelf" ptType="node node" st="7 1" cnt="1 0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8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rot="180" type="triangle" r:blip="">
            <dgm:adjLst/>
          </dgm:shape>
          <dgm:choose name="Name26">
            <dgm:if name="Name27" func="var" arg="dir" op="equ" val="norm">
              <dgm:presOf axis="ch desOrSelf" ptType="node node" st="8 1" cnt="1 0"/>
            </dgm:if>
            <dgm:else name="Name28">
              <dgm:presOf axis="ch desOrSelf" ptType="node node" st="6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triangle9" styleLbl="node1">
          <dgm:varLst>
            <dgm:bulletEnabled val="1"/>
          </dgm:varLst>
          <dgm:alg type="tx">
            <dgm:param type="txAnchorVertCh" val="mid"/>
          </dgm:alg>
          <dgm:shape xmlns:r="http://schemas.openxmlformats.org/officeDocument/2006/relationships" type="triangle" r:blip="">
            <dgm:adjLst/>
          </dgm:shape>
          <dgm:choose name="Name29">
            <dgm:if name="Name30" func="var" arg="dir" op="equ" val="norm">
              <dgm:presOf axis="ch desOrSelf" ptType="node node" st="9 1" cnt="1 0"/>
            </dgm:if>
            <dgm:else name="Name31">
              <dgm:presOf axis="ch desOrSelf" ptType="node node" st="5 1" cnt="1 0"/>
            </dgm:else>
          </dgm:choose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2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enn3">
  <dgm:title val=""/>
  <dgm:desc val=""/>
  <dgm:catLst>
    <dgm:cat type="relationship" pri="2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>
          <dgm:param type="fallback" val="2D"/>
        </dgm:alg>
      </dgm:if>
      <dgm:else name="Name3">
        <dgm:alg type="lin">
          <dgm:param type="fallback" val="2D"/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refType="w" refFor="ch" refPtType="node"/>
      <dgm:constr type="w" for="ch" forName="space" refType="w" refFor="ch" refPtType="node" fact="-0.2"/>
      <dgm:constr type="primFontSz" for="ch" ptType="node" op="equ" val="65"/>
    </dgm:constrLst>
    <dgm:ruleLst/>
    <dgm:forEach name="Name4" axis="ch" ptType="node">
      <dgm:layoutNode name="Name5" styleLbl="vennNode1">
        <dgm:varLst>
          <dgm:bulletEnabled val="1"/>
        </dgm:varLst>
        <dgm:alg type="tx">
          <dgm:param type="txAnchorVertCh" val="mid"/>
          <dgm:param type="txAnchorHorzCh" val="ctr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tMarg" refType="primFontSz" fact="0.1"/>
          <dgm:constr type="bMarg" refType="primFontSz" fact="0.1"/>
          <dgm:constr type="lMarg" refType="w" fact="0.156"/>
          <dgm:constr type="rMarg" refType="w" fact="0.156"/>
        </dgm:constrLst>
        <dgm:ruleLst>
          <dgm:rule type="primFontSz" val="5" fact="NaN" max="NaN"/>
        </dgm:ruleLst>
      </dgm:layoutNode>
      <dgm:forEach name="Name6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3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 /><Relationship Id="rId1" Type="http://schemas.openxmlformats.org/officeDocument/2006/relationships/image" Target="../media/image15.png" 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 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 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247" cy="496572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sz="quarter" idx="1"/>
          </p:nvPr>
        </p:nvSpPr>
        <p:spPr>
          <a:xfrm>
            <a:off x="3849826" y="0"/>
            <a:ext cx="2946246" cy="496572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DA61164F-A6E1-45E0-AC5F-97873C5E362E}" type="datetimeFigureOut">
              <a:rPr lang="zh-TW" altLang="en-US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4" name="頁尾版面配置區 3"/>
          <p:cNvSpPr>
            <a:spLocks noGrp="1"/>
          </p:cNvSpPr>
          <p:nvPr>
            <p:ph type="ftr" sz="quarter" idx="2"/>
          </p:nvPr>
        </p:nvSpPr>
        <p:spPr>
          <a:xfrm>
            <a:off x="0" y="9428470"/>
            <a:ext cx="2946247" cy="496571"/>
          </a:xfrm>
          <a:prstGeom prst="rect">
            <a:avLst/>
          </a:prstGeom>
        </p:spPr>
        <p:txBody>
          <a:bodyPr vert="horz" lIns="91417" tIns="45708" rIns="91417" bIns="45708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投影片編號版面配置區 4"/>
          <p:cNvSpPr>
            <a:spLocks noGrp="1"/>
          </p:cNvSpPr>
          <p:nvPr>
            <p:ph type="sldNum" sz="quarter" idx="3"/>
          </p:nvPr>
        </p:nvSpPr>
        <p:spPr>
          <a:xfrm>
            <a:off x="3849826" y="9428470"/>
            <a:ext cx="2946246" cy="496571"/>
          </a:xfrm>
          <a:prstGeom prst="rect">
            <a:avLst/>
          </a:prstGeom>
        </p:spPr>
        <p:txBody>
          <a:bodyPr vert="horz" wrap="square" lIns="91417" tIns="45708" rIns="91417" bIns="45708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4C437FA9-BBA6-443B-868F-966D96418E15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640930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 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頁首版面配置區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247" cy="496572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3" name="日期版面配置區 2"/>
          <p:cNvSpPr>
            <a:spLocks noGrp="1"/>
          </p:cNvSpPr>
          <p:nvPr>
            <p:ph type="dt" idx="1"/>
          </p:nvPr>
        </p:nvSpPr>
        <p:spPr>
          <a:xfrm>
            <a:off x="3849826" y="0"/>
            <a:ext cx="2946246" cy="496572"/>
          </a:xfrm>
          <a:prstGeom prst="rect">
            <a:avLst/>
          </a:prstGeom>
        </p:spPr>
        <p:txBody>
          <a:bodyPr vert="horz" lIns="91417" tIns="45708" rIns="91417" bIns="45708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512F1DA4-B21D-4BC0-A2BD-6D96BE224DAF}" type="datetimeFigureOut">
              <a:rPr lang="zh-TW" altLang="en-US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4" name="投影片圖像版面配置區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7" tIns="45708" rIns="91417" bIns="45708" rtlCol="0" anchor="ctr"/>
          <a:lstStyle/>
          <a:p>
            <a:pPr lvl="0"/>
            <a:endParaRPr lang="zh-TW" altLang="en-US" noProof="0"/>
          </a:p>
        </p:txBody>
      </p:sp>
      <p:sp>
        <p:nvSpPr>
          <p:cNvPr id="5" name="備忘稿版面配置區 4"/>
          <p:cNvSpPr>
            <a:spLocks noGrp="1"/>
          </p:cNvSpPr>
          <p:nvPr>
            <p:ph type="body" sz="quarter" idx="3"/>
          </p:nvPr>
        </p:nvSpPr>
        <p:spPr>
          <a:xfrm>
            <a:off x="679288" y="4715034"/>
            <a:ext cx="5439101" cy="4467546"/>
          </a:xfrm>
          <a:prstGeom prst="rect">
            <a:avLst/>
          </a:prstGeom>
        </p:spPr>
        <p:txBody>
          <a:bodyPr vert="horz" lIns="91417" tIns="45708" rIns="91417" bIns="45708" rtlCol="0">
            <a:normAutofit/>
          </a:bodyPr>
          <a:lstStyle/>
          <a:p>
            <a:pPr lvl="0"/>
            <a:r>
              <a:rPr lang="zh-TW" altLang="en-US" noProof="0"/>
              <a:t>按一下以編輯母片文字樣式</a:t>
            </a:r>
          </a:p>
          <a:p>
            <a:pPr lvl="1"/>
            <a:r>
              <a:rPr lang="zh-TW" altLang="en-US" noProof="0"/>
              <a:t>第二層</a:t>
            </a:r>
          </a:p>
          <a:p>
            <a:pPr lvl="2"/>
            <a:r>
              <a:rPr lang="zh-TW" altLang="en-US" noProof="0"/>
              <a:t>第三層</a:t>
            </a:r>
          </a:p>
          <a:p>
            <a:pPr lvl="3"/>
            <a:r>
              <a:rPr lang="zh-TW" altLang="en-US" noProof="0"/>
              <a:t>第四層</a:t>
            </a:r>
          </a:p>
          <a:p>
            <a:pPr lvl="4"/>
            <a:r>
              <a:rPr lang="zh-TW" altLang="en-US" noProof="0"/>
              <a:t>第五層</a:t>
            </a:r>
          </a:p>
        </p:txBody>
      </p:sp>
      <p:sp>
        <p:nvSpPr>
          <p:cNvPr id="6" name="頁尾版面配置區 5"/>
          <p:cNvSpPr>
            <a:spLocks noGrp="1"/>
          </p:cNvSpPr>
          <p:nvPr>
            <p:ph type="ftr" sz="quarter" idx="4"/>
          </p:nvPr>
        </p:nvSpPr>
        <p:spPr>
          <a:xfrm>
            <a:off x="0" y="9428470"/>
            <a:ext cx="2946247" cy="496571"/>
          </a:xfrm>
          <a:prstGeom prst="rect">
            <a:avLst/>
          </a:prstGeom>
        </p:spPr>
        <p:txBody>
          <a:bodyPr vert="horz" lIns="91417" tIns="45708" rIns="91417" bIns="45708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投影片編號版面配置區 6"/>
          <p:cNvSpPr>
            <a:spLocks noGrp="1"/>
          </p:cNvSpPr>
          <p:nvPr>
            <p:ph type="sldNum" sz="quarter" idx="5"/>
          </p:nvPr>
        </p:nvSpPr>
        <p:spPr>
          <a:xfrm>
            <a:off x="3849826" y="9428470"/>
            <a:ext cx="2946246" cy="496571"/>
          </a:xfrm>
          <a:prstGeom prst="rect">
            <a:avLst/>
          </a:prstGeom>
        </p:spPr>
        <p:txBody>
          <a:bodyPr vert="horz" wrap="square" lIns="91417" tIns="45708" rIns="91417" bIns="45708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B4469E3F-202C-4C68-9318-E2B55214668C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411943228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 /><Relationship Id="rId1" Type="http://schemas.openxmlformats.org/officeDocument/2006/relationships/notesMaster" Target="../notesMasters/notesMaster1.xml" 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 /><Relationship Id="rId1" Type="http://schemas.openxmlformats.org/officeDocument/2006/relationships/notesMaster" Target="../notesMasters/notesMaster1.xml" 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 /><Relationship Id="rId1" Type="http://schemas.openxmlformats.org/officeDocument/2006/relationships/notesMaster" Target="../notesMasters/notesMaster1.xml" 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 /><Relationship Id="rId1" Type="http://schemas.openxmlformats.org/officeDocument/2006/relationships/notesMaster" Target="../notesMasters/notesMaster1.xml" 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 /><Relationship Id="rId1" Type="http://schemas.openxmlformats.org/officeDocument/2006/relationships/notesMaster" Target="../notesMasters/notesMaster1.xml" 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 /><Relationship Id="rId1" Type="http://schemas.openxmlformats.org/officeDocument/2006/relationships/notesMaster" Target="../notesMasters/notesMaster1.xml" 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 /><Relationship Id="rId1" Type="http://schemas.openxmlformats.org/officeDocument/2006/relationships/notesMaster" Target="../notesMasters/notesMaster1.xml" 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 /><Relationship Id="rId1" Type="http://schemas.openxmlformats.org/officeDocument/2006/relationships/notesMaster" Target="../notesMasters/notesMaster1.xml" 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 /><Relationship Id="rId1" Type="http://schemas.openxmlformats.org/officeDocument/2006/relationships/notesMaster" Target="../notesMasters/notesMaster1.xml" 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 /><Relationship Id="rId1" Type="http://schemas.openxmlformats.org/officeDocument/2006/relationships/notesMaster" Target="../notesMasters/notesMaster1.xml" 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 /><Relationship Id="rId1" Type="http://schemas.openxmlformats.org/officeDocument/2006/relationships/notesMaster" Target="../notesMasters/notesMaster1.xml" 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 /><Relationship Id="rId1" Type="http://schemas.openxmlformats.org/officeDocument/2006/relationships/notesMaster" Target="../notesMasters/notesMaster1.xml" 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 /><Relationship Id="rId1" Type="http://schemas.openxmlformats.org/officeDocument/2006/relationships/notesMaster" Target="../notesMasters/notesMaster1.xml" 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 /><Relationship Id="rId1" Type="http://schemas.openxmlformats.org/officeDocument/2006/relationships/notesMaster" Target="../notesMasters/notesMaster1.xml" 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 /><Relationship Id="rId1" Type="http://schemas.openxmlformats.org/officeDocument/2006/relationships/notesMaster" Target="../notesMasters/notesMaster1.xml" 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TW" altLang="en-US"/>
          </a:p>
        </p:txBody>
      </p:sp>
      <p:sp>
        <p:nvSpPr>
          <p:cNvPr id="22532" name="投影片編號版面配置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8225" indent="-287779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51115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11561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72008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32454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92900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53346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913792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fld id="{D5806068-2B14-4880-85EB-ADAE1C108075}" type="slidenum">
              <a:rPr lang="zh-TW" altLang="en-US" smtClean="0"/>
              <a:pPr/>
              <a:t>5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306195377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5999">
              <a:defRPr/>
            </a:pPr>
            <a:r>
              <a:rPr lang="zh-TW" altLang="en-US" b="1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置於國高中簡報</a:t>
            </a:r>
            <a:endParaRPr lang="en-US" altLang="zh-TW" b="1" dirty="0">
              <a:solidFill>
                <a:prstClr val="black"/>
              </a:solidFill>
              <a:latin typeface="微軟正黑體" pitchFamily="34" charset="-120"/>
              <a:ea typeface="微軟正黑體" pitchFamily="34" charset="-120"/>
            </a:endParaRPr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52B1B1-C9A3-4727-8A4D-94415E878A50}" type="slidenum">
              <a:rPr lang="zh-TW" altLang="en-US" smtClean="0"/>
              <a:pPr/>
              <a:t>42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413806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5999">
              <a:defRPr/>
            </a:pPr>
            <a:r>
              <a:rPr lang="zh-TW" altLang="en-US" b="1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置於國高中簡報</a:t>
            </a:r>
            <a:endParaRPr lang="en-US" altLang="zh-TW" b="1" dirty="0">
              <a:solidFill>
                <a:prstClr val="black"/>
              </a:solidFill>
              <a:latin typeface="微軟正黑體" pitchFamily="34" charset="-120"/>
              <a:ea typeface="微軟正黑體" pitchFamily="34" charset="-120"/>
            </a:endParaRPr>
          </a:p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D52B1B1-C9A3-4727-8A4D-94415E878A50}" type="slidenum">
              <a:rPr lang="zh-TW" altLang="en-US" smtClean="0"/>
              <a:pPr/>
              <a:t>43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3413806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0659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TW" altLang="en-US"/>
          </a:p>
        </p:txBody>
      </p:sp>
      <p:sp>
        <p:nvSpPr>
          <p:cNvPr id="70660" name="投影片編號版面配置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8225" indent="-287779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51115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11561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72008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32454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92900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53346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913792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fld id="{AE524F92-6932-4AA1-ADD5-B6A72F99888B}" type="slidenum">
              <a:rPr lang="zh-TW" altLang="en-US" smtClean="0"/>
              <a:pPr/>
              <a:t>47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7349775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0659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TW" altLang="en-US"/>
          </a:p>
        </p:txBody>
      </p:sp>
      <p:sp>
        <p:nvSpPr>
          <p:cNvPr id="70660" name="投影片編號版面配置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8225" indent="-287779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51115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11561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72008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32454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92900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53346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913792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fld id="{AE524F92-6932-4AA1-ADD5-B6A72F99888B}" type="slidenum">
              <a:rPr lang="zh-TW" altLang="en-US" smtClean="0"/>
              <a:pPr/>
              <a:t>48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1734977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469E3F-202C-4C68-9318-E2B55214668C}" type="slidenum">
              <a:rPr lang="zh-TW" altLang="en-US" smtClean="0"/>
              <a:pPr>
                <a:defRPr/>
              </a:pPr>
              <a:t>54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0972342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8851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TW" altLang="en-US"/>
          </a:p>
        </p:txBody>
      </p:sp>
      <p:sp>
        <p:nvSpPr>
          <p:cNvPr id="78852" name="投影片編號版面配置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8225" indent="-287779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51115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11561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72008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32454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92900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53346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913792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fld id="{33E844BF-20E8-4858-AEE7-A6773EDA7D7E}" type="slidenum">
              <a:rPr lang="zh-TW" altLang="en-US" smtClean="0"/>
              <a:pPr/>
              <a:t>55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9740907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ts val="2405"/>
              </a:spcBef>
            </a:pPr>
            <a:r>
              <a:rPr lang="zh-TW" altLang="en-US">
                <a:latin typeface="微軟正黑體" panose="020B0604030504040204" pitchFamily="34" charset="-120"/>
                <a:ea typeface="微軟正黑體" panose="020B0604030504040204" pitchFamily="34" charset="-120"/>
              </a:rPr>
              <a:t>知識</a:t>
            </a:r>
            <a:endParaRPr lang="en-US" altLang="zh-TW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spcBef>
                <a:spcPts val="2405"/>
              </a:spcBef>
            </a:pPr>
            <a:r>
              <a:rPr lang="zh-TW" altLang="en-US">
                <a:latin typeface="微軟正黑體" panose="020B0604030504040204" pitchFamily="34" charset="-120"/>
                <a:ea typeface="微軟正黑體" panose="020B0604030504040204" pitchFamily="34" charset="-120"/>
              </a:rPr>
              <a:t>能力：涵蓋技能層面</a:t>
            </a:r>
            <a:endParaRPr lang="en-US" altLang="zh-TW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spcBef>
                <a:spcPts val="2405"/>
              </a:spcBef>
            </a:pPr>
            <a:r>
              <a:rPr lang="zh-TW" altLang="en-US">
                <a:latin typeface="微軟正黑體" panose="020B0604030504040204" pitchFamily="34" charset="-120"/>
                <a:ea typeface="微軟正黑體" panose="020B0604030504040204" pitchFamily="34" charset="-120"/>
              </a:rPr>
              <a:t>態度：涵蓋情意、價值、習慣層面</a:t>
            </a:r>
            <a:endParaRPr lang="en-US" altLang="zh-TW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4580" name="投影片編號版面配置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8225" indent="-287779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51115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11561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72008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32454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92900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53346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913792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fld id="{24A5F3B7-9FC2-4E91-B37F-44A8FECABA7D}" type="slidenum">
              <a:rPr lang="zh-TW" altLang="en-US" smtClean="0"/>
              <a:pPr/>
              <a:t>6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488981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zh-TW" altLang="zh-TW"/>
              <a:t>三面與九項核心素養彼此之間係以「虛線」表示，彰顯核心素養的學習係整全式</a:t>
            </a:r>
            <a:r>
              <a:rPr lang="en-US" altLang="zh-TW"/>
              <a:t>(holistic)</a:t>
            </a:r>
            <a:r>
              <a:rPr lang="zh-TW" altLang="zh-TW"/>
              <a:t>、動態的</a:t>
            </a:r>
            <a:r>
              <a:rPr lang="en-US" altLang="zh-TW"/>
              <a:t>(dynamaic)</a:t>
            </a:r>
            <a:r>
              <a:rPr lang="zh-TW" altLang="zh-TW"/>
              <a:t>及有機的</a:t>
            </a:r>
            <a:r>
              <a:rPr lang="en-US" altLang="zh-TW"/>
              <a:t>(organic)</a:t>
            </a:r>
            <a:r>
              <a:rPr lang="zh-TW" altLang="zh-TW"/>
              <a:t>概念，儘管三面九項可分不同的面向與項目，但彼此之間是相互連結及交互運用。</a:t>
            </a:r>
            <a:endParaRPr lang="zh-TW" altLang="en-US"/>
          </a:p>
        </p:txBody>
      </p:sp>
      <p:sp>
        <p:nvSpPr>
          <p:cNvPr id="27652" name="投影片編號版面配置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8225" indent="-287779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51115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11561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72008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32454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92900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53346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913792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fld id="{DE6E2BAD-C9EA-4017-B3D3-66DB2691EEAA}" type="slidenum">
              <a:rPr lang="zh-TW" altLang="en-US" smtClean="0"/>
              <a:pPr/>
              <a:t>8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202383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23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TW" altLang="en-US"/>
          </a:p>
        </p:txBody>
      </p:sp>
      <p:sp>
        <p:nvSpPr>
          <p:cNvPr id="30724" name="投影片編號版面配置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8225" indent="-287779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51115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11561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72008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32454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92900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53346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913792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fld id="{5FA35EF4-8BC5-49C4-8FCA-99111FD3D81E}" type="slidenum">
              <a:rPr lang="zh-TW" altLang="en-US" smtClean="0"/>
              <a:pPr/>
              <a:t>10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0789247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TW" altLang="en-US"/>
          </a:p>
        </p:txBody>
      </p:sp>
      <p:sp>
        <p:nvSpPr>
          <p:cNvPr id="32772" name="投影片編號版面配置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1300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8225" indent="-287779" defTabSz="911300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51115" indent="-230223" defTabSz="911300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11561" indent="-230223" defTabSz="911300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72008" indent="-230223" defTabSz="911300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32454" indent="-230223" defTabSz="911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92900" indent="-230223" defTabSz="911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53346" indent="-230223" defTabSz="911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913792" indent="-230223" defTabSz="9113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fld id="{64949616-3C9C-4E8C-85B7-168691A6FD34}" type="slidenum">
              <a:rPr lang="zh-TW" altLang="en-US" smtClean="0"/>
              <a:pPr/>
              <a:t>11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21554732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5843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zh-TW" altLang="en-US"/>
          </a:p>
        </p:txBody>
      </p:sp>
      <p:sp>
        <p:nvSpPr>
          <p:cNvPr id="35844" name="投影片編號版面配置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8225" indent="-287779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51115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11561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72008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32454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92900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53346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913792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fld id="{7234AFCF-17A3-4E43-A377-45D4927115D3}" type="slidenum">
              <a:rPr lang="zh-TW" altLang="en-US" smtClean="0"/>
              <a:pPr/>
              <a:t>13</a:t>
            </a:fld>
            <a:endParaRPr lang="en-US" altLang="zh-TW"/>
          </a:p>
        </p:txBody>
      </p:sp>
    </p:spTree>
    <p:extLst>
      <p:ext uri="{BB962C8B-B14F-4D97-AF65-F5344CB8AC3E}">
        <p14:creationId xmlns:p14="http://schemas.microsoft.com/office/powerpoint/2010/main" val="16328137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投影片圖像版面配置區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備忘稿版面配置區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zh-TW" altLang="en-US"/>
          </a:p>
        </p:txBody>
      </p:sp>
      <p:sp>
        <p:nvSpPr>
          <p:cNvPr id="38916" name="投影片編號版面配置區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8225" indent="-287779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51115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11561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72008" indent="-230223"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32454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92900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53346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913792" indent="-23022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fld id="{F0C44901-F173-494C-B286-374A930695C3}" type="slidenum">
              <a:rPr lang="zh-TW" altLang="en-US" smtClean="0"/>
              <a:pPr/>
              <a:t>15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75637017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4469E3F-202C-4C68-9318-E2B55214668C}" type="slidenum">
              <a:rPr lang="zh-TW" altLang="en-US" smtClean="0"/>
              <a:pPr>
                <a:defRPr/>
              </a:pPr>
              <a:t>21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9800786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圖像版面配置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備忘稿版面配置區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TW" altLang="zh-TW" dirty="0"/>
              <a:t>有關學習內容的四個主題軸順序規劃如下：讓學習者先透過各式學習活動探究各項社會事物間的「互動與關聯」，進而深入比較並辨別不同社會事物的「差異與多元」，以及了解在時間軸下社會事物的「變遷」過程及其「因果」關係；最後，在多元社會中，對於個人發展及社會參與的行動中做出合宜的「選擇」，並負起應盡之「責任」。</a:t>
            </a:r>
            <a:endParaRPr lang="zh-TW" altLang="en-US" dirty="0"/>
          </a:p>
        </p:txBody>
      </p:sp>
      <p:sp>
        <p:nvSpPr>
          <p:cNvPr id="4" name="投影片編號版面配置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3D1630C-26BD-4C3C-8246-D525E0BD3594}" type="slidenum">
              <a:rPr lang="zh-TW" altLang="en-US" smtClean="0"/>
              <a:pPr>
                <a:defRPr/>
              </a:pPr>
              <a:t>35</a:t>
            </a:fld>
            <a:endParaRPr lang="en-US" altLang="zh-TW" dirty="0"/>
          </a:p>
        </p:txBody>
      </p:sp>
    </p:spTree>
    <p:extLst>
      <p:ext uri="{BB962C8B-B14F-4D97-AF65-F5344CB8AC3E}">
        <p14:creationId xmlns:p14="http://schemas.microsoft.com/office/powerpoint/2010/main" val="30685655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 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 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1FDE57-9F0C-4093-B3C0-FCB3095EB0D3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C30CFB-5247-4BF2-9AB4-3ADF4FE8C5D6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8429652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FFE2465-1CC6-4134-B4F8-256DAD40D6C1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582372-D87E-4E09-B33F-8A73F13DA6C6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047092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28F062-CFF9-4226-87A3-1C846E2BA19C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93FB27-4799-4B6D-9F6B-4EEE5AC9E4D2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9412806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幻灯片">
    <p:bg>
      <p:bgPr>
        <a:solidFill>
          <a:srgbClr val="FFFBE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112571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標題投影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TW" altLang="en-US"/>
              <a:t>按一下以編輯母片副標題樣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FF91D48B-4A19-4A10-A86F-153221712C4A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52A6A4AE-7164-47AF-A9E1-F559D99EE760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6619277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90063648-F0BB-4767-9365-ED3F2744EE01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A8611035-71FB-421C-AF28-A705024C50DC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2249851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E7C24819-F6C7-4874-BF98-16535E7F2263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3645CAF-A88B-47C4-9740-75BC09FE0786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6896339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3E811B6B-2E27-43C9-9828-6236F9C059E3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1D5A5B88-E67A-43CB-AD7B-A794EC9A5F9E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71776839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83C5FF89-F5A2-477B-BE70-F5070E01A476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21D0D99D-E0EA-4D67-BDBB-E7CFF65DA2CF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1439053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946AC204-FF25-4838-A3C7-29BFD4A58EFE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4BFC12E-7021-439A-AEFB-D8CF1F389C05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23359860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421FCA36-E0B5-420B-9BF9-4ACCC7AEF237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776E12A3-F409-462F-81C9-6275367099C8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665684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標題及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4C15E5-E434-4C59-A8A2-AB7699A1E15C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F3F063-C514-4327-903E-15B5C1B7965F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5673466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AC7FA621-8CCA-494A-94CE-6DD421AE60FE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0F1CCEA2-29C7-444F-A1D1-99ECF5567E1B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483150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TW" altLang="en-US" noProof="0"/>
              <a:t>按一下圖示以新增圖片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E5EC048A-6D36-4B8D-8E78-D7652E9C791E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B4E40CBC-C3BF-4F46-ACF8-85D15B0DD386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5038084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標題及直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B0331AE4-5F44-4588-9D9E-6BCADDFBBCF9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32C6DDFD-E9B4-491B-8290-009F07A448A0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9370220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直排標題及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fld id="{4FF6EDF6-BE9B-4D91-905E-6B858C32EAE4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kumimoji="1">
                <a:latin typeface="Arial" pitchFamily="34" charset="0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kumimoji="1">
                <a:latin typeface="Arial" panose="020B0604020202020204" pitchFamily="34" charset="0"/>
              </a:defRPr>
            </a:lvl1pPr>
          </a:lstStyle>
          <a:p>
            <a:pPr>
              <a:defRPr/>
            </a:pPr>
            <a:fld id="{D72EB3E6-B51B-48B5-9564-ABA8F703D28C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7556747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章節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C3E38D-F535-4C08-AA8D-EAF220BD0212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25605F-86EE-4795-AA21-A20EA13A9CE8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583453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兩項物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52A911-8770-41FF-B613-C0538A76C359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9DBA16-D365-4F78-8B24-B49354B401DD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8589273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對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B1C3DE-891D-4902-8BBC-207886B85C6D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441247-B8F3-47BF-9575-53482B7DFC07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9468880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只有標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B9DE9E-985B-4EBC-96A0-332B4912445A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6355B4-B271-4125-861E-3044BF1D5AED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1648918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4C29821-C7D1-486B-B8CF-F3CECD5EDFC9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BF4EED-F24C-420D-B541-F5B5D702392D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365449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含標題的內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6CECE6-4CB2-4BD7-A6EA-42E4D78FEC68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DF4B65-71D4-4A08-9539-2A31B7AE5620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20580824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含標題的圖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TW" altLang="en-US"/>
              <a:t>按一下以編輯母片標題樣式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TW" altLang="en-US" noProof="0"/>
              <a:t>按一下圖示以新增圖片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TW" altLang="en-US"/>
              <a:t>按一下以編輯母片文字樣式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C211CE-34CE-442E-8BE1-90EEC48C31B8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DF4E38-6D2E-4A0B-90EC-D3B16ECA2BBE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  <p:extLst>
      <p:ext uri="{BB962C8B-B14F-4D97-AF65-F5344CB8AC3E}">
        <p14:creationId xmlns:p14="http://schemas.microsoft.com/office/powerpoint/2010/main" val="34831786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 /><Relationship Id="rId13" Type="http://schemas.openxmlformats.org/officeDocument/2006/relationships/theme" Target="../theme/theme1.xml" /><Relationship Id="rId3" Type="http://schemas.openxmlformats.org/officeDocument/2006/relationships/slideLayout" Target="../slideLayouts/slideLayout3.xml" /><Relationship Id="rId7" Type="http://schemas.openxmlformats.org/officeDocument/2006/relationships/slideLayout" Target="../slideLayouts/slideLayout7.xml" /><Relationship Id="rId12" Type="http://schemas.openxmlformats.org/officeDocument/2006/relationships/slideLayout" Target="../slideLayouts/slideLayout12.xml" /><Relationship Id="rId2" Type="http://schemas.openxmlformats.org/officeDocument/2006/relationships/slideLayout" Target="../slideLayouts/slideLayout2.xml" /><Relationship Id="rId1" Type="http://schemas.openxmlformats.org/officeDocument/2006/relationships/slideLayout" Target="../slideLayouts/slideLayout1.xml" /><Relationship Id="rId6" Type="http://schemas.openxmlformats.org/officeDocument/2006/relationships/slideLayout" Target="../slideLayouts/slideLayout6.xml" /><Relationship Id="rId11" Type="http://schemas.openxmlformats.org/officeDocument/2006/relationships/slideLayout" Target="../slideLayouts/slideLayout11.xml" /><Relationship Id="rId5" Type="http://schemas.openxmlformats.org/officeDocument/2006/relationships/slideLayout" Target="../slideLayouts/slideLayout5.xml" /><Relationship Id="rId10" Type="http://schemas.openxmlformats.org/officeDocument/2006/relationships/slideLayout" Target="../slideLayouts/slideLayout10.xml" /><Relationship Id="rId4" Type="http://schemas.openxmlformats.org/officeDocument/2006/relationships/slideLayout" Target="../slideLayouts/slideLayout4.xml" /><Relationship Id="rId9" Type="http://schemas.openxmlformats.org/officeDocument/2006/relationships/slideLayout" Target="../slideLayouts/slideLayout9.xml" /><Relationship Id="rId14" Type="http://schemas.openxmlformats.org/officeDocument/2006/relationships/image" Target="../media/image1.png" 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 /><Relationship Id="rId13" Type="http://schemas.openxmlformats.org/officeDocument/2006/relationships/image" Target="../media/image1.png" /><Relationship Id="rId3" Type="http://schemas.openxmlformats.org/officeDocument/2006/relationships/slideLayout" Target="../slideLayouts/slideLayout15.xml" /><Relationship Id="rId7" Type="http://schemas.openxmlformats.org/officeDocument/2006/relationships/slideLayout" Target="../slideLayouts/slideLayout19.xml" /><Relationship Id="rId12" Type="http://schemas.openxmlformats.org/officeDocument/2006/relationships/theme" Target="../theme/theme2.xml" /><Relationship Id="rId2" Type="http://schemas.openxmlformats.org/officeDocument/2006/relationships/slideLayout" Target="../slideLayouts/slideLayout14.xml" /><Relationship Id="rId1" Type="http://schemas.openxmlformats.org/officeDocument/2006/relationships/slideLayout" Target="../slideLayouts/slideLayout13.xml" /><Relationship Id="rId6" Type="http://schemas.openxmlformats.org/officeDocument/2006/relationships/slideLayout" Target="../slideLayouts/slideLayout18.xml" /><Relationship Id="rId11" Type="http://schemas.openxmlformats.org/officeDocument/2006/relationships/slideLayout" Target="../slideLayouts/slideLayout23.xml" /><Relationship Id="rId5" Type="http://schemas.openxmlformats.org/officeDocument/2006/relationships/slideLayout" Target="../slideLayouts/slideLayout17.xml" /><Relationship Id="rId10" Type="http://schemas.openxmlformats.org/officeDocument/2006/relationships/slideLayout" Target="../slideLayouts/slideLayout22.xml" /><Relationship Id="rId4" Type="http://schemas.openxmlformats.org/officeDocument/2006/relationships/slideLayout" Target="../slideLayouts/slideLayout16.xml" /><Relationship Id="rId9" Type="http://schemas.openxmlformats.org/officeDocument/2006/relationships/slideLayout" Target="../slideLayouts/slideLayout21.xml" 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/>
              <a:t>按一下以編輯母片標題樣式</a:t>
            </a:r>
            <a:endParaRPr lang="en-US" altLang="zh-TW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altLang="zh-TW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fld id="{BBFCFCD6-AA65-4FED-A368-AD2DB882286A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73EBD6DD-9D96-447A-A25A-5B7542BCCF1F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72" r:id="rId1"/>
    <p:sldLayoutId id="2147483873" r:id="rId2"/>
    <p:sldLayoutId id="2147483874" r:id="rId3"/>
    <p:sldLayoutId id="2147483875" r:id="rId4"/>
    <p:sldLayoutId id="2147483876" r:id="rId5"/>
    <p:sldLayoutId id="2147483877" r:id="rId6"/>
    <p:sldLayoutId id="2147483878" r:id="rId7"/>
    <p:sldLayoutId id="2147483879" r:id="rId8"/>
    <p:sldLayoutId id="2147483880" r:id="rId9"/>
    <p:sldLayoutId id="2147483881" r:id="rId10"/>
    <p:sldLayoutId id="2147483882" r:id="rId11"/>
    <p:sldLayoutId id="2147483883" r:id="rId12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Placeholder 1"/>
          <p:cNvSpPr>
            <a:spLocks noGrp="1"/>
          </p:cNvSpPr>
          <p:nvPr>
            <p:ph type="title"/>
          </p:nvPr>
        </p:nvSpPr>
        <p:spPr bwMode="auto">
          <a:xfrm>
            <a:off x="628650" y="365125"/>
            <a:ext cx="78867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/>
              <a:t>按一下以編輯母片標題樣式</a:t>
            </a:r>
            <a:endParaRPr lang="en-US" altLang="zh-TW"/>
          </a:p>
        </p:txBody>
      </p:sp>
      <p:sp>
        <p:nvSpPr>
          <p:cNvPr id="205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28650" y="1825625"/>
            <a:ext cx="78867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TW" altLang="en-US"/>
              <a:t>按一下以編輯母片文字樣式</a:t>
            </a:r>
          </a:p>
          <a:p>
            <a:pPr lvl="1"/>
            <a:r>
              <a:rPr lang="zh-TW" altLang="en-US"/>
              <a:t>第二層</a:t>
            </a:r>
          </a:p>
          <a:p>
            <a:pPr lvl="2"/>
            <a:r>
              <a:rPr lang="zh-TW" altLang="en-US"/>
              <a:t>第三層</a:t>
            </a:r>
          </a:p>
          <a:p>
            <a:pPr lvl="3"/>
            <a:r>
              <a:rPr lang="zh-TW" altLang="en-US"/>
              <a:t>第四層</a:t>
            </a:r>
          </a:p>
          <a:p>
            <a:pPr lvl="4"/>
            <a:r>
              <a:rPr lang="zh-TW" altLang="en-US"/>
              <a:t>第五層</a:t>
            </a:r>
            <a:endParaRPr lang="en-US" altLang="zh-TW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19F53B53-3A0A-441F-A70F-5BEC5D80938E}" type="datetime1">
              <a:rPr lang="zh-TW" altLang="en-US" smtClean="0"/>
              <a:pPr>
                <a:defRPr/>
              </a:pPr>
              <a:t>2019/8/2</a:t>
            </a:fld>
            <a:endParaRPr lang="zh-TW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zh-TW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</a:defRPr>
            </a:lvl1pPr>
          </a:lstStyle>
          <a:p>
            <a:pPr>
              <a:defRPr/>
            </a:pPr>
            <a:fld id="{923CE55F-F742-4DC3-9B93-5938218DC881}" type="slidenum">
              <a:rPr lang="zh-TW" altLang="en-US"/>
              <a:pPr>
                <a:defRPr/>
              </a:pPr>
              <a:t>‹#›</a:t>
            </a:fld>
            <a:endParaRPr lang="zh-TW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  <a:ea typeface="新細明體" pitchFamily="18" charset="-12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 /><Relationship Id="rId1" Type="http://schemas.openxmlformats.org/officeDocument/2006/relationships/slideLayout" Target="../slideLayouts/slideLayout1.xml" 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 /><Relationship Id="rId3" Type="http://schemas.openxmlformats.org/officeDocument/2006/relationships/image" Target="../media/image18.png" /><Relationship Id="rId7" Type="http://schemas.openxmlformats.org/officeDocument/2006/relationships/image" Target="../media/image20.png" /><Relationship Id="rId2" Type="http://schemas.openxmlformats.org/officeDocument/2006/relationships/notesSlide" Target="../notesSlides/notesSlide4.xml" /><Relationship Id="rId1" Type="http://schemas.openxmlformats.org/officeDocument/2006/relationships/slideLayout" Target="../slideLayouts/slideLayout2.xml" /><Relationship Id="rId6" Type="http://schemas.openxmlformats.org/officeDocument/2006/relationships/image" Target="../media/image19.png" /><Relationship Id="rId5" Type="http://schemas.openxmlformats.org/officeDocument/2006/relationships/image" Target="../media/image9.png" /><Relationship Id="rId4" Type="http://schemas.openxmlformats.org/officeDocument/2006/relationships/image" Target="../media/image7.png" /><Relationship Id="rId9" Type="http://schemas.openxmlformats.org/officeDocument/2006/relationships/image" Target="../media/image5.jpeg" 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 /><Relationship Id="rId7" Type="http://schemas.microsoft.com/office/2007/relationships/diagramDrawing" Target="../diagrams/drawing2.xml" /><Relationship Id="rId2" Type="http://schemas.openxmlformats.org/officeDocument/2006/relationships/notesSlide" Target="../notesSlides/notesSlide5.xml" /><Relationship Id="rId1" Type="http://schemas.openxmlformats.org/officeDocument/2006/relationships/slideLayout" Target="../slideLayouts/slideLayout2.xml" /><Relationship Id="rId6" Type="http://schemas.openxmlformats.org/officeDocument/2006/relationships/diagramColors" Target="../diagrams/colors2.xml" /><Relationship Id="rId5" Type="http://schemas.openxmlformats.org/officeDocument/2006/relationships/diagramQuickStyle" Target="../diagrams/quickStyle2.xml" /><Relationship Id="rId4" Type="http://schemas.openxmlformats.org/officeDocument/2006/relationships/diagramLayout" Target="../diagrams/layout2.xml" 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Layout" Target="../slideLayouts/slideLayout2.xml" 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 /><Relationship Id="rId7" Type="http://schemas.microsoft.com/office/2007/relationships/diagramDrawing" Target="../diagrams/drawing3.xml" /><Relationship Id="rId2" Type="http://schemas.openxmlformats.org/officeDocument/2006/relationships/notesSlide" Target="../notesSlides/notesSlide6.xml" /><Relationship Id="rId1" Type="http://schemas.openxmlformats.org/officeDocument/2006/relationships/slideLayout" Target="../slideLayouts/slideLayout2.xml" /><Relationship Id="rId6" Type="http://schemas.openxmlformats.org/officeDocument/2006/relationships/diagramColors" Target="../diagrams/colors3.xml" /><Relationship Id="rId5" Type="http://schemas.openxmlformats.org/officeDocument/2006/relationships/diagramQuickStyle" Target="../diagrams/quickStyle3.xml" /><Relationship Id="rId4" Type="http://schemas.openxmlformats.org/officeDocument/2006/relationships/diagramLayout" Target="../diagrams/layout3.xml" 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 /><Relationship Id="rId1" Type="http://schemas.openxmlformats.org/officeDocument/2006/relationships/slideLayout" Target="../slideLayouts/slideLayout2.xml" 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 /><Relationship Id="rId1" Type="http://schemas.openxmlformats.org/officeDocument/2006/relationships/slideLayout" Target="../slideLayouts/slideLayout14.xml" 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 /><Relationship Id="rId2" Type="http://schemas.openxmlformats.org/officeDocument/2006/relationships/image" Target="../media/image23.png" /><Relationship Id="rId1" Type="http://schemas.openxmlformats.org/officeDocument/2006/relationships/slideLayout" Target="../slideLayouts/slideLayout14.xml" 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 /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 /><Relationship Id="rId2" Type="http://schemas.openxmlformats.org/officeDocument/2006/relationships/diagramData" Target="../diagrams/data4.xml" /><Relationship Id="rId1" Type="http://schemas.openxmlformats.org/officeDocument/2006/relationships/slideLayout" Target="../slideLayouts/slideLayout7.xml" /><Relationship Id="rId6" Type="http://schemas.microsoft.com/office/2007/relationships/diagramDrawing" Target="../diagrams/drawing4.xml" /><Relationship Id="rId5" Type="http://schemas.openxmlformats.org/officeDocument/2006/relationships/diagramColors" Target="../diagrams/colors4.xml" /><Relationship Id="rId4" Type="http://schemas.openxmlformats.org/officeDocument/2006/relationships/diagramQuickStyle" Target="../diagrams/quickStyle4.xml" 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 /><Relationship Id="rId1" Type="http://schemas.openxmlformats.org/officeDocument/2006/relationships/slideLayout" Target="../slideLayouts/slideLayout2.xml" 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 /><Relationship Id="rId3" Type="http://schemas.openxmlformats.org/officeDocument/2006/relationships/diagramData" Target="../diagrams/data5.xml" /><Relationship Id="rId7" Type="http://schemas.microsoft.com/office/2007/relationships/diagramDrawing" Target="../diagrams/drawing5.xml" /><Relationship Id="rId2" Type="http://schemas.openxmlformats.org/officeDocument/2006/relationships/notesSlide" Target="../notesSlides/notesSlide8.xml" /><Relationship Id="rId1" Type="http://schemas.openxmlformats.org/officeDocument/2006/relationships/slideLayout" Target="../slideLayouts/slideLayout2.xml" /><Relationship Id="rId6" Type="http://schemas.openxmlformats.org/officeDocument/2006/relationships/diagramColors" Target="../diagrams/colors5.xml" /><Relationship Id="rId5" Type="http://schemas.openxmlformats.org/officeDocument/2006/relationships/diagramQuickStyle" Target="../diagrams/quickStyle5.xml" /><Relationship Id="rId4" Type="http://schemas.openxmlformats.org/officeDocument/2006/relationships/diagramLayout" Target="../diagrams/layout5.xml" /><Relationship Id="rId9" Type="http://schemas.openxmlformats.org/officeDocument/2006/relationships/image" Target="../media/image26.png" 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 /><Relationship Id="rId3" Type="http://schemas.openxmlformats.org/officeDocument/2006/relationships/diagramLayout" Target="../diagrams/layout6.xml" /><Relationship Id="rId7" Type="http://schemas.openxmlformats.org/officeDocument/2006/relationships/image" Target="../media/image27.jpeg" /><Relationship Id="rId2" Type="http://schemas.openxmlformats.org/officeDocument/2006/relationships/diagramData" Target="../diagrams/data6.xml" /><Relationship Id="rId1" Type="http://schemas.openxmlformats.org/officeDocument/2006/relationships/slideLayout" Target="../slideLayouts/slideLayout2.xml" /><Relationship Id="rId6" Type="http://schemas.microsoft.com/office/2007/relationships/diagramDrawing" Target="../diagrams/drawing6.xml" /><Relationship Id="rId5" Type="http://schemas.openxmlformats.org/officeDocument/2006/relationships/diagramColors" Target="../diagrams/colors6.xml" /><Relationship Id="rId4" Type="http://schemas.openxmlformats.org/officeDocument/2006/relationships/diagramQuickStyle" Target="../diagrams/quickStyle6.xml" 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Layout" Target="../slideLayouts/slideLayout2.xml" 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hyperlink" Target="../../../Dropbox/&#35506;&#31243;&#25163;&#20874;/&#23458;&#23478;&#35486;&#25991;/&#12304;&#23458;&#23478;&#35486;&#25991;&#35506;&#31243;&#25163;&#20874;&#12305;&#21021;&#31295;1070418.docx" TargetMode="External" /><Relationship Id="rId1" Type="http://schemas.openxmlformats.org/officeDocument/2006/relationships/slideLayout" Target="../slideLayouts/slideLayout2.xml" 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 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 /><Relationship Id="rId2" Type="http://schemas.openxmlformats.org/officeDocument/2006/relationships/diagramData" Target="../diagrams/data7.xml" /><Relationship Id="rId1" Type="http://schemas.openxmlformats.org/officeDocument/2006/relationships/slideLayout" Target="../slideLayouts/slideLayout6.xml" /><Relationship Id="rId6" Type="http://schemas.microsoft.com/office/2007/relationships/diagramDrawing" Target="../diagrams/drawing7.xml" /><Relationship Id="rId5" Type="http://schemas.openxmlformats.org/officeDocument/2006/relationships/diagramColors" Target="../diagrams/colors7.xml" /><Relationship Id="rId4" Type="http://schemas.openxmlformats.org/officeDocument/2006/relationships/diagramQuickStyle" Target="../diagrams/quickStyle7.xml" 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 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Layout" Target="../slideLayouts/slideLayout2.xml" 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 /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 /><Relationship Id="rId1" Type="http://schemas.openxmlformats.org/officeDocument/2006/relationships/slideLayout" Target="../slideLayouts/slideLayout2.xml" 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jpeg" /><Relationship Id="rId1" Type="http://schemas.openxmlformats.org/officeDocument/2006/relationships/slideLayout" Target="../slideLayouts/slideLayout2.xml" 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 /><Relationship Id="rId1" Type="http://schemas.openxmlformats.org/officeDocument/2006/relationships/slideLayout" Target="../slideLayouts/slideLayout2.xml" 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 /><Relationship Id="rId7" Type="http://schemas.microsoft.com/office/2007/relationships/diagramDrawing" Target="../diagrams/drawing8.xml" /><Relationship Id="rId2" Type="http://schemas.openxmlformats.org/officeDocument/2006/relationships/image" Target="../media/image32.png" /><Relationship Id="rId1" Type="http://schemas.openxmlformats.org/officeDocument/2006/relationships/slideLayout" Target="../slideLayouts/slideLayout2.xml" /><Relationship Id="rId6" Type="http://schemas.openxmlformats.org/officeDocument/2006/relationships/diagramColors" Target="../diagrams/colors8.xml" /><Relationship Id="rId5" Type="http://schemas.openxmlformats.org/officeDocument/2006/relationships/diagramQuickStyle" Target="../diagrams/quickStyle8.xml" /><Relationship Id="rId4" Type="http://schemas.openxmlformats.org/officeDocument/2006/relationships/diagramLayout" Target="../diagrams/layout8.xml" /></Relationships>
</file>

<file path=ppt/slides/_rels/slide3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 /><Relationship Id="rId3" Type="http://schemas.openxmlformats.org/officeDocument/2006/relationships/image" Target="../media/image32.png" /><Relationship Id="rId7" Type="http://schemas.openxmlformats.org/officeDocument/2006/relationships/diagramColors" Target="../diagrams/colors9.xml" /><Relationship Id="rId2" Type="http://schemas.openxmlformats.org/officeDocument/2006/relationships/notesSlide" Target="../notesSlides/notesSlide9.xml" /><Relationship Id="rId1" Type="http://schemas.openxmlformats.org/officeDocument/2006/relationships/slideLayout" Target="../slideLayouts/slideLayout2.xml" /><Relationship Id="rId6" Type="http://schemas.openxmlformats.org/officeDocument/2006/relationships/diagramQuickStyle" Target="../diagrams/quickStyle9.xml" /><Relationship Id="rId5" Type="http://schemas.openxmlformats.org/officeDocument/2006/relationships/diagramLayout" Target="../diagrams/layout9.xml" /><Relationship Id="rId4" Type="http://schemas.openxmlformats.org/officeDocument/2006/relationships/diagramData" Target="../diagrams/data9.xml" 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0.xml" /><Relationship Id="rId7" Type="http://schemas.microsoft.com/office/2007/relationships/diagramDrawing" Target="../diagrams/drawing10.xml" /><Relationship Id="rId2" Type="http://schemas.openxmlformats.org/officeDocument/2006/relationships/image" Target="../media/image33.jpeg" /><Relationship Id="rId1" Type="http://schemas.openxmlformats.org/officeDocument/2006/relationships/slideLayout" Target="../slideLayouts/slideLayout2.xml" /><Relationship Id="rId6" Type="http://schemas.openxmlformats.org/officeDocument/2006/relationships/diagramColors" Target="../diagrams/colors10.xml" /><Relationship Id="rId5" Type="http://schemas.openxmlformats.org/officeDocument/2006/relationships/diagramQuickStyle" Target="../diagrams/quickStyle10.xml" /><Relationship Id="rId4" Type="http://schemas.openxmlformats.org/officeDocument/2006/relationships/diagramLayout" Target="../diagrams/layout10.xml" 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 /><Relationship Id="rId7" Type="http://schemas.openxmlformats.org/officeDocument/2006/relationships/image" Target="../media/image34.jpeg" /><Relationship Id="rId2" Type="http://schemas.openxmlformats.org/officeDocument/2006/relationships/diagramData" Target="../diagrams/data11.xml" /><Relationship Id="rId1" Type="http://schemas.openxmlformats.org/officeDocument/2006/relationships/slideLayout" Target="../slideLayouts/slideLayout2.xml" /><Relationship Id="rId6" Type="http://schemas.microsoft.com/office/2007/relationships/diagramDrawing" Target="../diagrams/drawing11.xml" /><Relationship Id="rId5" Type="http://schemas.openxmlformats.org/officeDocument/2006/relationships/diagramColors" Target="../diagrams/colors11.xml" /><Relationship Id="rId4" Type="http://schemas.openxmlformats.org/officeDocument/2006/relationships/diagramQuickStyle" Target="../diagrams/quickStyle11.xml" /></Relationships>
</file>

<file path=ppt/slides/_rels/slide3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2.xml" /><Relationship Id="rId3" Type="http://schemas.openxmlformats.org/officeDocument/2006/relationships/slideLayout" Target="../slideLayouts/slideLayout1.xml" /><Relationship Id="rId7" Type="http://schemas.openxmlformats.org/officeDocument/2006/relationships/diagramLayout" Target="../diagrams/layout12.xml" /><Relationship Id="rId2" Type="http://schemas.openxmlformats.org/officeDocument/2006/relationships/tags" Target="../tags/tag1.xml" /><Relationship Id="rId1" Type="http://schemas.openxmlformats.org/officeDocument/2006/relationships/vmlDrawing" Target="../drawings/vmlDrawing2.vml" /><Relationship Id="rId6" Type="http://schemas.openxmlformats.org/officeDocument/2006/relationships/diagramData" Target="../diagrams/data12.xml" /><Relationship Id="rId5" Type="http://schemas.openxmlformats.org/officeDocument/2006/relationships/image" Target="../media/image35.emf" /><Relationship Id="rId10" Type="http://schemas.microsoft.com/office/2007/relationships/diagramDrawing" Target="../diagrams/drawing12.xml" /><Relationship Id="rId4" Type="http://schemas.openxmlformats.org/officeDocument/2006/relationships/oleObject" Target="../embeddings/oleObject3.bin" /><Relationship Id="rId9" Type="http://schemas.openxmlformats.org/officeDocument/2006/relationships/diagramColors" Target="../diagrams/colors12.xml" 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4.xml" /><Relationship Id="rId13" Type="http://schemas.openxmlformats.org/officeDocument/2006/relationships/diagramData" Target="../diagrams/data15.xml" /><Relationship Id="rId3" Type="http://schemas.openxmlformats.org/officeDocument/2006/relationships/diagramLayout" Target="../diagrams/layout13.xml" /><Relationship Id="rId7" Type="http://schemas.openxmlformats.org/officeDocument/2006/relationships/image" Target="../media/image36.png" /><Relationship Id="rId12" Type="http://schemas.microsoft.com/office/2007/relationships/diagramDrawing" Target="../diagrams/drawing14.xml" /><Relationship Id="rId17" Type="http://schemas.microsoft.com/office/2007/relationships/diagramDrawing" Target="../diagrams/drawing15.xml" /><Relationship Id="rId2" Type="http://schemas.openxmlformats.org/officeDocument/2006/relationships/diagramData" Target="../diagrams/data13.xml" /><Relationship Id="rId16" Type="http://schemas.openxmlformats.org/officeDocument/2006/relationships/diagramColors" Target="../diagrams/colors15.xml" /><Relationship Id="rId1" Type="http://schemas.openxmlformats.org/officeDocument/2006/relationships/slideLayout" Target="../slideLayouts/slideLayout2.xml" /><Relationship Id="rId6" Type="http://schemas.microsoft.com/office/2007/relationships/diagramDrawing" Target="../diagrams/drawing13.xml" /><Relationship Id="rId11" Type="http://schemas.openxmlformats.org/officeDocument/2006/relationships/diagramColors" Target="../diagrams/colors14.xml" /><Relationship Id="rId5" Type="http://schemas.openxmlformats.org/officeDocument/2006/relationships/diagramColors" Target="../diagrams/colors13.xml" /><Relationship Id="rId15" Type="http://schemas.openxmlformats.org/officeDocument/2006/relationships/diagramQuickStyle" Target="../diagrams/quickStyle15.xml" /><Relationship Id="rId10" Type="http://schemas.openxmlformats.org/officeDocument/2006/relationships/diagramQuickStyle" Target="../diagrams/quickStyle14.xml" /><Relationship Id="rId4" Type="http://schemas.openxmlformats.org/officeDocument/2006/relationships/diagramQuickStyle" Target="../diagrams/quickStyle13.xml" /><Relationship Id="rId9" Type="http://schemas.openxmlformats.org/officeDocument/2006/relationships/diagramLayout" Target="../diagrams/layout14.xml" /><Relationship Id="rId14" Type="http://schemas.openxmlformats.org/officeDocument/2006/relationships/diagramLayout" Target="../diagrams/layout15.xml" 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Layout" Target="../slideLayouts/slideLayout2.xml" 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 /><Relationship Id="rId2" Type="http://schemas.openxmlformats.org/officeDocument/2006/relationships/diagramData" Target="../diagrams/data16.xml" /><Relationship Id="rId1" Type="http://schemas.openxmlformats.org/officeDocument/2006/relationships/slideLayout" Target="../slideLayouts/slideLayout7.xml" /><Relationship Id="rId6" Type="http://schemas.microsoft.com/office/2007/relationships/diagramDrawing" Target="../diagrams/drawing16.xml" /><Relationship Id="rId5" Type="http://schemas.openxmlformats.org/officeDocument/2006/relationships/diagramColors" Target="../diagrams/colors16.xml" /><Relationship Id="rId4" Type="http://schemas.openxmlformats.org/officeDocument/2006/relationships/diagramQuickStyle" Target="../diagrams/quickStyle16.xml" 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7.xml" /><Relationship Id="rId2" Type="http://schemas.openxmlformats.org/officeDocument/2006/relationships/diagramData" Target="../diagrams/data17.xml" /><Relationship Id="rId1" Type="http://schemas.openxmlformats.org/officeDocument/2006/relationships/slideLayout" Target="../slideLayouts/slideLayout7.xml" /><Relationship Id="rId6" Type="http://schemas.microsoft.com/office/2007/relationships/diagramDrawing" Target="../diagrams/drawing17.xml" /><Relationship Id="rId5" Type="http://schemas.openxmlformats.org/officeDocument/2006/relationships/diagramColors" Target="../diagrams/colors17.xml" /><Relationship Id="rId4" Type="http://schemas.openxmlformats.org/officeDocument/2006/relationships/diagramQuickStyle" Target="../diagrams/quickStyle17.xml" 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 /><Relationship Id="rId2" Type="http://schemas.openxmlformats.org/officeDocument/2006/relationships/slideLayout" Target="../slideLayouts/slideLayout2.xml" /><Relationship Id="rId1" Type="http://schemas.openxmlformats.org/officeDocument/2006/relationships/themeOverride" Target="../theme/themeOverride1.xml" /><Relationship Id="rId4" Type="http://schemas.openxmlformats.org/officeDocument/2006/relationships/image" Target="../media/image1.png" 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../&#20998;&#32068;&#26371;&#35696;&#24847;&#35211;/1070613&#39640;&#20013;&#32068;&#35506;&#23529;&#26371;&#26032;&#22686;&#26360;&#38754;&#24847;&#35211;&#22238;&#35206;.docx" TargetMode="External" /><Relationship Id="rId2" Type="http://schemas.openxmlformats.org/officeDocument/2006/relationships/notesSlide" Target="../notesSlides/notesSlide11.xml" /><Relationship Id="rId1" Type="http://schemas.openxmlformats.org/officeDocument/2006/relationships/slideLayout" Target="../slideLayouts/slideLayout2.xml" 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 /><Relationship Id="rId1" Type="http://schemas.openxmlformats.org/officeDocument/2006/relationships/slideLayout" Target="../slideLayouts/slideLayout2.xml" 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 /><Relationship Id="rId2" Type="http://schemas.openxmlformats.org/officeDocument/2006/relationships/diagramData" Target="../diagrams/data18.xml" /><Relationship Id="rId1" Type="http://schemas.openxmlformats.org/officeDocument/2006/relationships/slideLayout" Target="../slideLayouts/slideLayout6.xml" /><Relationship Id="rId6" Type="http://schemas.microsoft.com/office/2007/relationships/diagramDrawing" Target="../diagrams/drawing18.xml" /><Relationship Id="rId5" Type="http://schemas.openxmlformats.org/officeDocument/2006/relationships/diagramColors" Target="../diagrams/colors18.xml" /><Relationship Id="rId4" Type="http://schemas.openxmlformats.org/officeDocument/2006/relationships/diagramQuickStyle" Target="../diagrams/quickStyle18.xml" 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9.xml" /><Relationship Id="rId2" Type="http://schemas.openxmlformats.org/officeDocument/2006/relationships/diagramData" Target="../diagrams/data19.xml" /><Relationship Id="rId1" Type="http://schemas.openxmlformats.org/officeDocument/2006/relationships/slideLayout" Target="../slideLayouts/slideLayout6.xml" /><Relationship Id="rId6" Type="http://schemas.microsoft.com/office/2007/relationships/diagramDrawing" Target="../diagrams/drawing19.xml" /><Relationship Id="rId5" Type="http://schemas.openxmlformats.org/officeDocument/2006/relationships/diagramColors" Target="../diagrams/colors19.xml" /><Relationship Id="rId4" Type="http://schemas.openxmlformats.org/officeDocument/2006/relationships/diagramQuickStyle" Target="../diagrams/quickStyle19.xml" 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0.xml" /><Relationship Id="rId7" Type="http://schemas.microsoft.com/office/2007/relationships/diagramDrawing" Target="../diagrams/drawing20.xml" /><Relationship Id="rId2" Type="http://schemas.openxmlformats.org/officeDocument/2006/relationships/notesSlide" Target="../notesSlides/notesSlide12.xml" /><Relationship Id="rId1" Type="http://schemas.openxmlformats.org/officeDocument/2006/relationships/slideLayout" Target="../slideLayouts/slideLayout6.xml" /><Relationship Id="rId6" Type="http://schemas.openxmlformats.org/officeDocument/2006/relationships/diagramColors" Target="../diagrams/colors20.xml" /><Relationship Id="rId5" Type="http://schemas.openxmlformats.org/officeDocument/2006/relationships/diagramQuickStyle" Target="../diagrams/quickStyle20.xml" /><Relationship Id="rId4" Type="http://schemas.openxmlformats.org/officeDocument/2006/relationships/diagramLayout" Target="../diagrams/layout20.xml" 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1.xml" /><Relationship Id="rId7" Type="http://schemas.microsoft.com/office/2007/relationships/diagramDrawing" Target="../diagrams/drawing21.xml" /><Relationship Id="rId2" Type="http://schemas.openxmlformats.org/officeDocument/2006/relationships/notesSlide" Target="../notesSlides/notesSlide13.xml" /><Relationship Id="rId1" Type="http://schemas.openxmlformats.org/officeDocument/2006/relationships/slideLayout" Target="../slideLayouts/slideLayout2.xml" /><Relationship Id="rId6" Type="http://schemas.openxmlformats.org/officeDocument/2006/relationships/diagramColors" Target="../diagrams/colors21.xml" /><Relationship Id="rId5" Type="http://schemas.openxmlformats.org/officeDocument/2006/relationships/diagramQuickStyle" Target="../diagrams/quickStyle21.xml" /><Relationship Id="rId4" Type="http://schemas.openxmlformats.org/officeDocument/2006/relationships/diagramLayout" Target="../diagrams/layout21.xml" 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 /><Relationship Id="rId1" Type="http://schemas.openxmlformats.org/officeDocument/2006/relationships/slideLayout" Target="../slideLayouts/slideLayout2.xml" 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 /><Relationship Id="rId7" Type="http://schemas.microsoft.com/office/2007/relationships/diagramDrawing" Target="../diagrams/drawing1.xml" /><Relationship Id="rId2" Type="http://schemas.openxmlformats.org/officeDocument/2006/relationships/notesSlide" Target="../notesSlides/notesSlide1.xml" /><Relationship Id="rId1" Type="http://schemas.openxmlformats.org/officeDocument/2006/relationships/slideLayout" Target="../slideLayouts/slideLayout7.xml" /><Relationship Id="rId6" Type="http://schemas.openxmlformats.org/officeDocument/2006/relationships/diagramColors" Target="../diagrams/colors1.xml" /><Relationship Id="rId5" Type="http://schemas.openxmlformats.org/officeDocument/2006/relationships/diagramQuickStyle" Target="../diagrams/quickStyle1.xml" /><Relationship Id="rId4" Type="http://schemas.openxmlformats.org/officeDocument/2006/relationships/diagramLayout" Target="../diagrams/layout1.xml" 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 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 /><Relationship Id="rId2" Type="http://schemas.openxmlformats.org/officeDocument/2006/relationships/image" Target="../media/image4.png" /><Relationship Id="rId1" Type="http://schemas.openxmlformats.org/officeDocument/2006/relationships/slideLayout" Target="../slideLayouts/slideLayout2.xml" /><Relationship Id="rId4" Type="http://schemas.openxmlformats.org/officeDocument/2006/relationships/image" Target="../media/image6.png" 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 /><Relationship Id="rId2" Type="http://schemas.openxmlformats.org/officeDocument/2006/relationships/image" Target="../media/image39.png" /><Relationship Id="rId1" Type="http://schemas.openxmlformats.org/officeDocument/2006/relationships/slideLayout" Target="../slideLayouts/slideLayout2.xml" 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 /><Relationship Id="rId1" Type="http://schemas.openxmlformats.org/officeDocument/2006/relationships/slideLayout" Target="../slideLayouts/slideLayout4.xml" /></Relationships>
</file>

<file path=ppt/slides/_rels/slide5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3.xml" /><Relationship Id="rId13" Type="http://schemas.openxmlformats.org/officeDocument/2006/relationships/hyperlink" Target="https://www.naer.edu.tw/files/11-1000-1625.php?Lang=zh-tw" TargetMode="External" /><Relationship Id="rId3" Type="http://schemas.openxmlformats.org/officeDocument/2006/relationships/diagramData" Target="../diagrams/data22.xml" /><Relationship Id="rId7" Type="http://schemas.microsoft.com/office/2007/relationships/diagramDrawing" Target="../diagrams/drawing22.xml" /><Relationship Id="rId12" Type="http://schemas.microsoft.com/office/2007/relationships/diagramDrawing" Target="../diagrams/drawing23.xml" /><Relationship Id="rId2" Type="http://schemas.openxmlformats.org/officeDocument/2006/relationships/notesSlide" Target="../notesSlides/notesSlide14.xml" /><Relationship Id="rId1" Type="http://schemas.openxmlformats.org/officeDocument/2006/relationships/slideLayout" Target="../slideLayouts/slideLayout2.xml" /><Relationship Id="rId6" Type="http://schemas.openxmlformats.org/officeDocument/2006/relationships/diagramColors" Target="../diagrams/colors22.xml" /><Relationship Id="rId11" Type="http://schemas.openxmlformats.org/officeDocument/2006/relationships/diagramColors" Target="../diagrams/colors23.xml" /><Relationship Id="rId5" Type="http://schemas.openxmlformats.org/officeDocument/2006/relationships/diagramQuickStyle" Target="../diagrams/quickStyle22.xml" /><Relationship Id="rId15" Type="http://schemas.openxmlformats.org/officeDocument/2006/relationships/image" Target="../media/image42.png" /><Relationship Id="rId10" Type="http://schemas.openxmlformats.org/officeDocument/2006/relationships/diagramQuickStyle" Target="../diagrams/quickStyle23.xml" /><Relationship Id="rId4" Type="http://schemas.openxmlformats.org/officeDocument/2006/relationships/diagramLayout" Target="../diagrams/layout22.xml" /><Relationship Id="rId9" Type="http://schemas.openxmlformats.org/officeDocument/2006/relationships/diagramLayout" Target="../diagrams/layout23.xml" /><Relationship Id="rId14" Type="http://schemas.openxmlformats.org/officeDocument/2006/relationships/image" Target="../media/image41.png" 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 /><Relationship Id="rId2" Type="http://schemas.openxmlformats.org/officeDocument/2006/relationships/notesSlide" Target="../notesSlides/notesSlide15.xml" /><Relationship Id="rId1" Type="http://schemas.openxmlformats.org/officeDocument/2006/relationships/slideLayout" Target="../slideLayouts/slideLayout12.xml" /><Relationship Id="rId4" Type="http://schemas.openxmlformats.org/officeDocument/2006/relationships/image" Target="../media/image43.png" 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 /><Relationship Id="rId2" Type="http://schemas.openxmlformats.org/officeDocument/2006/relationships/notesSlide" Target="../notesSlides/notesSlide2.xml" /><Relationship Id="rId1" Type="http://schemas.openxmlformats.org/officeDocument/2006/relationships/slideLayout" Target="../slideLayouts/slideLayout2.xml" /><Relationship Id="rId5" Type="http://schemas.openxmlformats.org/officeDocument/2006/relationships/image" Target="../media/image9.png" /><Relationship Id="rId4" Type="http://schemas.openxmlformats.org/officeDocument/2006/relationships/image" Target="../media/image8.png" 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 /><Relationship Id="rId2" Type="http://schemas.openxmlformats.org/officeDocument/2006/relationships/image" Target="../media/image10.png" /><Relationship Id="rId1" Type="http://schemas.openxmlformats.org/officeDocument/2006/relationships/slideLayout" Target="../slideLayouts/slideLayout7.xml" /><Relationship Id="rId6" Type="http://schemas.openxmlformats.org/officeDocument/2006/relationships/image" Target="../media/image14.jpeg" /><Relationship Id="rId5" Type="http://schemas.openxmlformats.org/officeDocument/2006/relationships/image" Target="../media/image13.png" /><Relationship Id="rId4" Type="http://schemas.openxmlformats.org/officeDocument/2006/relationships/image" Target="../media/image12.png" 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 /><Relationship Id="rId7" Type="http://schemas.openxmlformats.org/officeDocument/2006/relationships/image" Target="../media/image16.png" /><Relationship Id="rId2" Type="http://schemas.openxmlformats.org/officeDocument/2006/relationships/slideLayout" Target="../slideLayouts/slideLayout2.xml" /><Relationship Id="rId1" Type="http://schemas.openxmlformats.org/officeDocument/2006/relationships/vmlDrawing" Target="../drawings/vmlDrawing1.vml" /><Relationship Id="rId6" Type="http://schemas.openxmlformats.org/officeDocument/2006/relationships/oleObject" Target="../embeddings/oleObject2.bin" /><Relationship Id="rId5" Type="http://schemas.openxmlformats.org/officeDocument/2006/relationships/image" Target="../media/image15.png" /><Relationship Id="rId4" Type="http://schemas.openxmlformats.org/officeDocument/2006/relationships/oleObject" Target="../embeddings/oleObject1.bin" 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 /><Relationship Id="rId1" Type="http://schemas.openxmlformats.org/officeDocument/2006/relationships/slideLayout" Target="../slideLayouts/slideLayout2.xml" 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標題 1"/>
          <p:cNvSpPr>
            <a:spLocks noGrp="1"/>
          </p:cNvSpPr>
          <p:nvPr>
            <p:ph type="ctrTitle"/>
          </p:nvPr>
        </p:nvSpPr>
        <p:spPr>
          <a:xfrm>
            <a:off x="3994150" y="1751013"/>
            <a:ext cx="3138170" cy="2005012"/>
          </a:xfrm>
        </p:spPr>
        <p:txBody>
          <a:bodyPr anchor="t"/>
          <a:lstStyle/>
          <a:p>
            <a:pPr algn="l" eaLnBrk="1" hangingPunct="1">
              <a:lnSpc>
                <a:spcPct val="100000"/>
              </a:lnSpc>
            </a:pPr>
            <a:r>
              <a:rPr lang="zh-TW" altLang="en-US" sz="4400" b="1" dirty="0">
                <a:solidFill>
                  <a:srgbClr val="70001D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協力同行</a:t>
            </a:r>
            <a:br>
              <a:rPr lang="en-US" altLang="zh-TW" sz="4400" b="1" dirty="0">
                <a:solidFill>
                  <a:srgbClr val="70001D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zh-TW" altLang="en-US" sz="4400" b="1" dirty="0">
                <a:solidFill>
                  <a:srgbClr val="70001D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解析實踐</a:t>
            </a:r>
            <a:br>
              <a:rPr lang="en-US" altLang="zh-TW" sz="4400" b="1" dirty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br>
              <a:rPr lang="en-US" altLang="zh-TW" sz="4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br>
              <a:rPr lang="en-US" altLang="zh-TW" sz="3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br>
              <a:rPr lang="en-US" altLang="zh-TW" sz="3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br>
              <a:rPr lang="en-US" altLang="zh-TW" sz="3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br>
              <a:rPr lang="en-US" altLang="zh-TW" sz="36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br>
              <a:rPr lang="en-US" altLang="zh-TW" sz="40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br>
              <a:rPr lang="en-US" altLang="zh-TW" sz="2800" b="1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endParaRPr lang="zh-TW" altLang="en-US" sz="2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7411" name="投影片編號版面配置區 2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8AE80743-4519-4A64-B684-A3222D00BDBC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</a:t>
            </a:fld>
            <a:endParaRPr lang="zh-TW" altLang="en-US" sz="1200">
              <a:solidFill>
                <a:srgbClr val="898989"/>
              </a:solidFill>
            </a:endParaRPr>
          </a:p>
        </p:txBody>
      </p:sp>
      <p:sp>
        <p:nvSpPr>
          <p:cNvPr id="17412" name="矩形 1"/>
          <p:cNvSpPr>
            <a:spLocks noChangeArrowheads="1"/>
          </p:cNvSpPr>
          <p:nvPr/>
        </p:nvSpPr>
        <p:spPr bwMode="auto">
          <a:xfrm>
            <a:off x="3994150" y="3319463"/>
            <a:ext cx="4572000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zh-TW" altLang="en-US" sz="2400" b="1" dirty="0">
                <a:solidFill>
                  <a:schemeClr val="accent2">
                    <a:lumMod val="75000"/>
                  </a:schemeClr>
                </a:solidFill>
                <a:latin typeface="微軟正黑體" pitchFamily="34" charset="-120"/>
                <a:ea typeface="微軟正黑體" pitchFamily="34" charset="-120"/>
              </a:rPr>
              <a:t>十二年國民基本教育課程綱要</a:t>
            </a:r>
            <a:endParaRPr lang="en-US" altLang="zh-TW" sz="2400" b="1" dirty="0">
              <a:solidFill>
                <a:schemeClr val="accent2">
                  <a:lumMod val="75000"/>
                </a:schemeClr>
              </a:solidFill>
              <a:latin typeface="微軟正黑體" pitchFamily="34" charset="-120"/>
              <a:ea typeface="微軟正黑體" pitchFamily="34" charset="-120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zh-TW" altLang="en-US" sz="2400" b="1" dirty="0">
                <a:solidFill>
                  <a:schemeClr val="accent2">
                    <a:lumMod val="75000"/>
                  </a:schemeClr>
                </a:solidFill>
                <a:latin typeface="微軟正黑體" pitchFamily="34" charset="-120"/>
                <a:ea typeface="微軟正黑體" pitchFamily="34" charset="-120"/>
              </a:rPr>
              <a:t>社會領域</a:t>
            </a:r>
            <a:endParaRPr lang="zh-TW" altLang="en-US" sz="2400" dirty="0">
              <a:solidFill>
                <a:schemeClr val="accent2">
                  <a:lumMod val="75000"/>
                </a:schemeClr>
              </a:solidFill>
            </a:endParaRPr>
          </a:p>
        </p:txBody>
      </p:sp>
      <p:pic>
        <p:nvPicPr>
          <p:cNvPr id="17413" name="圖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575" y="2711450"/>
            <a:ext cx="2528888" cy="62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37"/>
          <p:cNvSpPr/>
          <p:nvPr/>
        </p:nvSpPr>
        <p:spPr>
          <a:xfrm>
            <a:off x="8675688" y="3216275"/>
            <a:ext cx="477837" cy="476250"/>
          </a:xfrm>
          <a:prstGeom prst="rect">
            <a:avLst/>
          </a:prstGeom>
          <a:solidFill>
            <a:srgbClr val="7000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zh-TW" dirty="0">
                <a:solidFill>
                  <a:srgbClr val="70001D"/>
                </a:solidFill>
                <a:latin typeface="Simple-Line-Icons" pitchFamily="2" charset="2"/>
              </a:rPr>
              <a:t></a:t>
            </a:r>
            <a:endParaRPr lang="en-US" altLang="zh-TW" dirty="0">
              <a:solidFill>
                <a:srgbClr val="70001D"/>
              </a:solidFill>
            </a:endParaRPr>
          </a:p>
        </p:txBody>
      </p:sp>
      <p:cxnSp>
        <p:nvCxnSpPr>
          <p:cNvPr id="4" name="直線接點 3"/>
          <p:cNvCxnSpPr/>
          <p:nvPr/>
        </p:nvCxnSpPr>
        <p:spPr>
          <a:xfrm>
            <a:off x="3870325" y="1711325"/>
            <a:ext cx="0" cy="2651125"/>
          </a:xfrm>
          <a:prstGeom prst="line">
            <a:avLst/>
          </a:prstGeom>
          <a:ln w="1270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0" name="直線接點 9"/>
          <p:cNvCxnSpPr/>
          <p:nvPr/>
        </p:nvCxnSpPr>
        <p:spPr>
          <a:xfrm>
            <a:off x="3727450" y="3216275"/>
            <a:ext cx="3732213" cy="0"/>
          </a:xfrm>
          <a:prstGeom prst="line">
            <a:avLst/>
          </a:prstGeom>
          <a:ln w="12700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矩形 59"/>
          <p:cNvSpPr/>
          <p:nvPr/>
        </p:nvSpPr>
        <p:spPr>
          <a:xfrm>
            <a:off x="-166688" y="33338"/>
            <a:ext cx="9144001" cy="6781800"/>
          </a:xfrm>
          <a:prstGeom prst="rect">
            <a:avLst/>
          </a:prstGeom>
          <a:solidFill>
            <a:srgbClr val="F2F2F2"/>
          </a:solidFill>
          <a:ln w="76200">
            <a:solidFill>
              <a:srgbClr val="F2F2F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/>
          </a:p>
        </p:txBody>
      </p:sp>
      <p:cxnSp>
        <p:nvCxnSpPr>
          <p:cNvPr id="37" name="直線單箭頭接點 36"/>
          <p:cNvCxnSpPr/>
          <p:nvPr/>
        </p:nvCxnSpPr>
        <p:spPr>
          <a:xfrm flipV="1">
            <a:off x="1720850" y="725488"/>
            <a:ext cx="1012825" cy="1084262"/>
          </a:xfrm>
          <a:prstGeom prst="straightConnector1">
            <a:avLst/>
          </a:prstGeom>
          <a:ln w="76200">
            <a:solidFill>
              <a:schemeClr val="accent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線單箭頭接點 38"/>
          <p:cNvCxnSpPr/>
          <p:nvPr/>
        </p:nvCxnSpPr>
        <p:spPr>
          <a:xfrm>
            <a:off x="1765300" y="1776413"/>
            <a:ext cx="968375" cy="803275"/>
          </a:xfrm>
          <a:prstGeom prst="straightConnector1">
            <a:avLst/>
          </a:prstGeom>
          <a:ln w="76200">
            <a:solidFill>
              <a:schemeClr val="accent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直線單箭頭接點 33"/>
          <p:cNvCxnSpPr/>
          <p:nvPr/>
        </p:nvCxnSpPr>
        <p:spPr>
          <a:xfrm>
            <a:off x="1706563" y="4611688"/>
            <a:ext cx="984250" cy="838200"/>
          </a:xfrm>
          <a:prstGeom prst="straightConnector1">
            <a:avLst/>
          </a:prstGeom>
          <a:ln w="76200">
            <a:solidFill>
              <a:schemeClr val="accent1">
                <a:lumMod val="50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標題 1"/>
          <p:cNvSpPr txBox="1">
            <a:spLocks/>
          </p:cNvSpPr>
          <p:nvPr/>
        </p:nvSpPr>
        <p:spPr>
          <a:xfrm>
            <a:off x="5048250" y="323850"/>
            <a:ext cx="3978275" cy="996950"/>
          </a:xfrm>
          <a:prstGeom prst="rect">
            <a:avLst/>
          </a:prstGeom>
        </p:spPr>
        <p:txBody>
          <a:bodyPr anchor="ctr">
            <a:normAutofit fontScale="92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zh-TW" alt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核心素養的轉化</a:t>
            </a:r>
          </a:p>
        </p:txBody>
      </p:sp>
      <p:cxnSp>
        <p:nvCxnSpPr>
          <p:cNvPr id="7" name="直線接點 6"/>
          <p:cNvCxnSpPr/>
          <p:nvPr/>
        </p:nvCxnSpPr>
        <p:spPr>
          <a:xfrm>
            <a:off x="4813300" y="1208088"/>
            <a:ext cx="4330700" cy="0"/>
          </a:xfrm>
          <a:prstGeom prst="line">
            <a:avLst/>
          </a:prstGeom>
          <a:ln w="57150">
            <a:solidFill>
              <a:srgbClr val="76C2A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線接點 7"/>
          <p:cNvCxnSpPr/>
          <p:nvPr/>
        </p:nvCxnSpPr>
        <p:spPr>
          <a:xfrm>
            <a:off x="4654550" y="1320800"/>
            <a:ext cx="4371975" cy="0"/>
          </a:xfrm>
          <a:prstGeom prst="line">
            <a:avLst/>
          </a:prstGeom>
          <a:ln w="57150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705" name="群組 62"/>
          <p:cNvGrpSpPr>
            <a:grpSpLocks/>
          </p:cNvGrpSpPr>
          <p:nvPr/>
        </p:nvGrpSpPr>
        <p:grpSpPr bwMode="auto">
          <a:xfrm>
            <a:off x="158750" y="957263"/>
            <a:ext cx="1625600" cy="1625600"/>
            <a:chOff x="159021" y="956681"/>
            <a:chExt cx="1625397" cy="1625397"/>
          </a:xfrm>
        </p:grpSpPr>
        <p:pic>
          <p:nvPicPr>
            <p:cNvPr id="29758" name="圖片 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9021" y="956681"/>
              <a:ext cx="1625397" cy="1625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759" name="文字方塊 9"/>
            <p:cNvSpPr txBox="1">
              <a:spLocks noChangeArrowheads="1"/>
            </p:cNvSpPr>
            <p:nvPr/>
          </p:nvSpPr>
          <p:spPr bwMode="auto">
            <a:xfrm>
              <a:off x="843347" y="1535350"/>
              <a:ext cx="376832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TW" altLang="en-US" sz="1800" b="1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總</a:t>
              </a:r>
              <a:endParaRPr lang="en-US" altLang="zh-TW" sz="1800" b="1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TW" altLang="en-US" sz="1800" b="1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綱</a:t>
              </a:r>
              <a:endParaRPr lang="en-US" altLang="zh-TW" sz="1800" b="1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9706" name="群組 2047"/>
          <p:cNvGrpSpPr>
            <a:grpSpLocks/>
          </p:cNvGrpSpPr>
          <p:nvPr/>
        </p:nvGrpSpPr>
        <p:grpSpPr bwMode="auto">
          <a:xfrm>
            <a:off x="158750" y="3562350"/>
            <a:ext cx="1625600" cy="1625600"/>
            <a:chOff x="159022" y="3562231"/>
            <a:chExt cx="1625397" cy="1625397"/>
          </a:xfrm>
        </p:grpSpPr>
        <p:pic>
          <p:nvPicPr>
            <p:cNvPr id="29756" name="圖片 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9022" y="3562231"/>
              <a:ext cx="1625397" cy="1625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757" name="文字方塊 10"/>
            <p:cNvSpPr txBox="1">
              <a:spLocks noChangeArrowheads="1"/>
            </p:cNvSpPr>
            <p:nvPr/>
          </p:nvSpPr>
          <p:spPr bwMode="auto">
            <a:xfrm>
              <a:off x="387785" y="4659284"/>
              <a:ext cx="64397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TW" altLang="en-US" sz="1800" b="1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領綱</a:t>
              </a:r>
              <a:endParaRPr lang="en-US" altLang="zh-TW" sz="1800" b="1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cxnSp>
        <p:nvCxnSpPr>
          <p:cNvPr id="12" name="直線單箭頭接點 11"/>
          <p:cNvCxnSpPr/>
          <p:nvPr/>
        </p:nvCxnSpPr>
        <p:spPr>
          <a:xfrm flipH="1">
            <a:off x="971550" y="2582863"/>
            <a:ext cx="7938" cy="979487"/>
          </a:xfrm>
          <a:prstGeom prst="straightConnector1">
            <a:avLst/>
          </a:prstGeom>
          <a:ln w="76200"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708" name="群組 2048"/>
          <p:cNvGrpSpPr>
            <a:grpSpLocks/>
          </p:cNvGrpSpPr>
          <p:nvPr/>
        </p:nvGrpSpPr>
        <p:grpSpPr bwMode="auto">
          <a:xfrm>
            <a:off x="2597150" y="33338"/>
            <a:ext cx="1465263" cy="1465262"/>
            <a:chOff x="2597117" y="33058"/>
            <a:chExt cx="1465468" cy="1465468"/>
          </a:xfrm>
        </p:grpSpPr>
        <p:pic>
          <p:nvPicPr>
            <p:cNvPr id="29754" name="圖片 1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97117" y="33058"/>
              <a:ext cx="1465468" cy="14654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755" name="文字方塊 19"/>
            <p:cNvSpPr txBox="1">
              <a:spLocks noChangeArrowheads="1"/>
            </p:cNvSpPr>
            <p:nvPr/>
          </p:nvSpPr>
          <p:spPr bwMode="auto">
            <a:xfrm>
              <a:off x="2772030" y="1066311"/>
              <a:ext cx="11875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TW" altLang="en-US" sz="1800" b="1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核心素養</a:t>
              </a:r>
              <a:endParaRPr lang="en-US" altLang="zh-TW" sz="1800" b="1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9709" name="群組 2050"/>
          <p:cNvGrpSpPr>
            <a:grpSpLocks/>
          </p:cNvGrpSpPr>
          <p:nvPr/>
        </p:nvGrpSpPr>
        <p:grpSpPr bwMode="auto">
          <a:xfrm>
            <a:off x="3330575" y="1498600"/>
            <a:ext cx="787400" cy="631825"/>
            <a:chOff x="3329851" y="1498526"/>
            <a:chExt cx="787705" cy="631447"/>
          </a:xfrm>
        </p:grpSpPr>
        <p:cxnSp>
          <p:nvCxnSpPr>
            <p:cNvPr id="25" name="直線單箭頭接點 24"/>
            <p:cNvCxnSpPr>
              <a:endCxn id="15" idx="0"/>
            </p:cNvCxnSpPr>
            <p:nvPr/>
          </p:nvCxnSpPr>
          <p:spPr>
            <a:xfrm>
              <a:off x="3329851" y="1498526"/>
              <a:ext cx="0" cy="631447"/>
            </a:xfrm>
            <a:prstGeom prst="straightConnector1">
              <a:avLst/>
            </a:prstGeom>
            <a:ln w="76200">
              <a:solidFill>
                <a:schemeClr val="accent1">
                  <a:lumMod val="50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文字方塊 41"/>
            <p:cNvSpPr txBox="1"/>
            <p:nvPr/>
          </p:nvSpPr>
          <p:spPr>
            <a:xfrm>
              <a:off x="3461665" y="1600065"/>
              <a:ext cx="655891" cy="36966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轉化</a:t>
              </a:r>
              <a:endParaRPr lang="en-US" altLang="zh-TW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9710" name="群組 2052"/>
          <p:cNvGrpSpPr>
            <a:grpSpLocks/>
          </p:cNvGrpSpPr>
          <p:nvPr/>
        </p:nvGrpSpPr>
        <p:grpSpPr bwMode="auto">
          <a:xfrm>
            <a:off x="3330575" y="3973513"/>
            <a:ext cx="730250" cy="833437"/>
            <a:chOff x="3329851" y="3973544"/>
            <a:chExt cx="730303" cy="833470"/>
          </a:xfrm>
        </p:grpSpPr>
        <p:cxnSp>
          <p:nvCxnSpPr>
            <p:cNvPr id="27" name="直線單箭頭接點 26"/>
            <p:cNvCxnSpPr/>
            <p:nvPr/>
          </p:nvCxnSpPr>
          <p:spPr>
            <a:xfrm>
              <a:off x="3329851" y="3973544"/>
              <a:ext cx="0" cy="833470"/>
            </a:xfrm>
            <a:prstGeom prst="straightConnector1">
              <a:avLst/>
            </a:prstGeom>
            <a:ln w="76200">
              <a:solidFill>
                <a:schemeClr val="accent1">
                  <a:lumMod val="50000"/>
                </a:schemeClr>
              </a:solidFill>
              <a:prstDash val="sysDot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文字方塊 42"/>
            <p:cNvSpPr txBox="1"/>
            <p:nvPr/>
          </p:nvSpPr>
          <p:spPr>
            <a:xfrm>
              <a:off x="3404469" y="4173577"/>
              <a:ext cx="655685" cy="36990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轉化</a:t>
              </a:r>
              <a:endParaRPr lang="en-US" altLang="zh-TW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9711" name="群組 2067"/>
          <p:cNvGrpSpPr>
            <a:grpSpLocks/>
          </p:cNvGrpSpPr>
          <p:nvPr/>
        </p:nvGrpSpPr>
        <p:grpSpPr bwMode="auto">
          <a:xfrm>
            <a:off x="2298700" y="4806950"/>
            <a:ext cx="2133600" cy="1855788"/>
            <a:chOff x="2299193" y="4807014"/>
            <a:chExt cx="2133212" cy="1855222"/>
          </a:xfrm>
        </p:grpSpPr>
        <p:sp>
          <p:nvSpPr>
            <p:cNvPr id="30" name="文字方塊 29"/>
            <p:cNvSpPr txBox="1"/>
            <p:nvPr/>
          </p:nvSpPr>
          <p:spPr>
            <a:xfrm>
              <a:off x="2299193" y="6292461"/>
              <a:ext cx="2133212" cy="369775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b="1" dirty="0">
                  <a:solidFill>
                    <a:schemeClr val="accent5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領域</a:t>
              </a:r>
              <a:r>
                <a:rPr lang="en-US" altLang="zh-TW" b="1" dirty="0">
                  <a:solidFill>
                    <a:schemeClr val="accent5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/</a:t>
              </a:r>
              <a:r>
                <a:rPr lang="zh-TW" altLang="en-US" b="1" dirty="0">
                  <a:solidFill>
                    <a:schemeClr val="accent5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科目</a:t>
              </a:r>
              <a:r>
                <a:rPr lang="zh-TW" altLang="en-US" b="1" dirty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核心素養</a:t>
              </a:r>
              <a:endParaRPr lang="en-US" altLang="zh-TW" b="1" dirty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  <p:grpSp>
          <p:nvGrpSpPr>
            <p:cNvPr id="29747" name="群組 2053"/>
            <p:cNvGrpSpPr>
              <a:grpSpLocks/>
            </p:cNvGrpSpPr>
            <p:nvPr/>
          </p:nvGrpSpPr>
          <p:grpSpPr bwMode="auto">
            <a:xfrm>
              <a:off x="2597117" y="4807014"/>
              <a:ext cx="1465468" cy="1465468"/>
              <a:chOff x="2597117" y="4807014"/>
              <a:chExt cx="1465468" cy="1465468"/>
            </a:xfrm>
          </p:grpSpPr>
          <p:pic>
            <p:nvPicPr>
              <p:cNvPr id="48" name="圖片 47"/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97117" y="4807014"/>
                <a:ext cx="1465468" cy="1465468"/>
              </a:xfrm>
              <a:prstGeom prst="rect">
                <a:avLst/>
              </a:prstGeom>
            </p:spPr>
          </p:pic>
          <p:pic>
            <p:nvPicPr>
              <p:cNvPr id="29749" name="圖片 28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82086" y="5159721"/>
                <a:ext cx="895530" cy="8955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grpSp>
        <p:nvGrpSpPr>
          <p:cNvPr id="29712" name="群組 2066"/>
          <p:cNvGrpSpPr>
            <a:grpSpLocks/>
          </p:cNvGrpSpPr>
          <p:nvPr/>
        </p:nvGrpSpPr>
        <p:grpSpPr bwMode="auto">
          <a:xfrm>
            <a:off x="2333625" y="2087563"/>
            <a:ext cx="2355850" cy="1846262"/>
            <a:chOff x="2188265" y="2129973"/>
            <a:chExt cx="2355067" cy="1846324"/>
          </a:xfrm>
        </p:grpSpPr>
        <p:grpSp>
          <p:nvGrpSpPr>
            <p:cNvPr id="29740" name="群組 2051"/>
            <p:cNvGrpSpPr>
              <a:grpSpLocks/>
            </p:cNvGrpSpPr>
            <p:nvPr/>
          </p:nvGrpSpPr>
          <p:grpSpPr bwMode="auto">
            <a:xfrm>
              <a:off x="2597117" y="2129973"/>
              <a:ext cx="1465468" cy="1472938"/>
              <a:chOff x="2597117" y="2129973"/>
              <a:chExt cx="1465468" cy="1472938"/>
            </a:xfrm>
          </p:grpSpPr>
          <p:pic>
            <p:nvPicPr>
              <p:cNvPr id="15" name="圖片 14"/>
              <p:cNvPicPr>
                <a:picLocks noChangeAspect="1"/>
              </p:cNvPicPr>
              <p:nvPr/>
            </p:nvPicPr>
            <p:blipFill>
              <a:blip r:embed="rId5" cstate="print">
                <a:duotone>
                  <a:schemeClr val="accent6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597117" y="2129973"/>
                <a:ext cx="1465468" cy="1465468"/>
              </a:xfrm>
              <a:prstGeom prst="rect">
                <a:avLst/>
              </a:prstGeom>
            </p:spPr>
          </p:pic>
          <p:sp>
            <p:nvSpPr>
              <p:cNvPr id="29743" name="文字方塊 16"/>
              <p:cNvSpPr txBox="1">
                <a:spLocks noChangeArrowheads="1"/>
              </p:cNvSpPr>
              <p:nvPr/>
            </p:nvSpPr>
            <p:spPr bwMode="auto">
              <a:xfrm>
                <a:off x="2733896" y="3048913"/>
                <a:ext cx="373098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TW" sz="18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E</a:t>
                </a:r>
              </a:p>
            </p:txBody>
          </p:sp>
          <p:sp>
            <p:nvSpPr>
              <p:cNvPr id="29744" name="文字方塊 17"/>
              <p:cNvSpPr txBox="1">
                <a:spLocks noChangeArrowheads="1"/>
              </p:cNvSpPr>
              <p:nvPr/>
            </p:nvSpPr>
            <p:spPr bwMode="auto">
              <a:xfrm>
                <a:off x="3168419" y="3233579"/>
                <a:ext cx="373098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TW" sz="18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J</a:t>
                </a:r>
              </a:p>
            </p:txBody>
          </p:sp>
          <p:sp>
            <p:nvSpPr>
              <p:cNvPr id="29745" name="文字方塊 18"/>
              <p:cNvSpPr txBox="1">
                <a:spLocks noChangeArrowheads="1"/>
              </p:cNvSpPr>
              <p:nvPr/>
            </p:nvSpPr>
            <p:spPr bwMode="auto">
              <a:xfrm>
                <a:off x="3602943" y="3048913"/>
                <a:ext cx="373098" cy="36933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9pPr>
              </a:lstStyle>
              <a:p>
                <a:pPr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en-US" altLang="zh-TW" sz="18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U</a:t>
                </a:r>
              </a:p>
            </p:txBody>
          </p:sp>
        </p:grpSp>
        <p:sp>
          <p:nvSpPr>
            <p:cNvPr id="49" name="文字方塊 48"/>
            <p:cNvSpPr txBox="1"/>
            <p:nvPr/>
          </p:nvSpPr>
          <p:spPr>
            <a:xfrm>
              <a:off x="2188265" y="3606398"/>
              <a:ext cx="2355067" cy="36989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b="1" dirty="0">
                  <a:solidFill>
                    <a:schemeClr val="accent5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各教育階段核心素養</a:t>
              </a:r>
              <a:endParaRPr lang="en-US" altLang="zh-TW" b="1" dirty="0">
                <a:solidFill>
                  <a:schemeClr val="accent5">
                    <a:lumMod val="7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9713" name="群組 2068"/>
          <p:cNvGrpSpPr>
            <a:grpSpLocks/>
          </p:cNvGrpSpPr>
          <p:nvPr/>
        </p:nvGrpSpPr>
        <p:grpSpPr bwMode="auto">
          <a:xfrm>
            <a:off x="4660900" y="3073400"/>
            <a:ext cx="4108450" cy="1754188"/>
            <a:chOff x="4661010" y="3073539"/>
            <a:chExt cx="4108384" cy="1754451"/>
          </a:xfrm>
        </p:grpSpPr>
        <p:grpSp>
          <p:nvGrpSpPr>
            <p:cNvPr id="29736" name="群組 2054"/>
            <p:cNvGrpSpPr>
              <a:grpSpLocks/>
            </p:cNvGrpSpPr>
            <p:nvPr/>
          </p:nvGrpSpPr>
          <p:grpSpPr bwMode="auto">
            <a:xfrm>
              <a:off x="4661010" y="3073539"/>
              <a:ext cx="2272025" cy="1754451"/>
              <a:chOff x="4661010" y="3073539"/>
              <a:chExt cx="2272025" cy="1754451"/>
            </a:xfrm>
          </p:grpSpPr>
          <p:pic>
            <p:nvPicPr>
              <p:cNvPr id="29738" name="圖片 44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61010" y="3073539"/>
                <a:ext cx="1474917" cy="147491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9739" name="圖片 51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475120" y="3370075"/>
                <a:ext cx="1457915" cy="14579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61" name="文字方塊 60"/>
            <p:cNvSpPr txBox="1"/>
            <p:nvPr/>
          </p:nvSpPr>
          <p:spPr>
            <a:xfrm>
              <a:off x="6635828" y="4205597"/>
              <a:ext cx="2133566" cy="36994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b="1" dirty="0">
                  <a:solidFill>
                    <a:schemeClr val="accent5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領域</a:t>
              </a:r>
              <a:r>
                <a:rPr lang="en-US" altLang="zh-TW" b="1" dirty="0">
                  <a:solidFill>
                    <a:schemeClr val="accent5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/</a:t>
              </a:r>
              <a:r>
                <a:rPr lang="zh-TW" altLang="en-US" b="1" dirty="0">
                  <a:solidFill>
                    <a:schemeClr val="accent5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科目</a:t>
              </a:r>
              <a:r>
                <a:rPr lang="zh-TW" altLang="en-US" b="1" dirty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理念目標</a:t>
              </a:r>
              <a:endParaRPr lang="en-US" altLang="zh-TW" b="1" dirty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9714" name="群組 2069"/>
          <p:cNvGrpSpPr>
            <a:grpSpLocks/>
          </p:cNvGrpSpPr>
          <p:nvPr/>
        </p:nvGrpSpPr>
        <p:grpSpPr bwMode="auto">
          <a:xfrm>
            <a:off x="5658418" y="4942387"/>
            <a:ext cx="2475706" cy="1781727"/>
            <a:chOff x="5634323" y="5028616"/>
            <a:chExt cx="2538225" cy="1826991"/>
          </a:xfrm>
        </p:grpSpPr>
        <p:grpSp>
          <p:nvGrpSpPr>
            <p:cNvPr id="29732" name="群組 2055"/>
            <p:cNvGrpSpPr>
              <a:grpSpLocks/>
            </p:cNvGrpSpPr>
            <p:nvPr/>
          </p:nvGrpSpPr>
          <p:grpSpPr bwMode="auto">
            <a:xfrm>
              <a:off x="5825797" y="5028616"/>
              <a:ext cx="2346751" cy="1696598"/>
              <a:chOff x="5825797" y="5028616"/>
              <a:chExt cx="2346751" cy="1696598"/>
            </a:xfrm>
          </p:grpSpPr>
          <p:pic>
            <p:nvPicPr>
              <p:cNvPr id="44" name="圖片 43"/>
              <p:cNvPicPr>
                <a:picLocks noChangeAspect="1"/>
              </p:cNvPicPr>
              <p:nvPr/>
            </p:nvPicPr>
            <p:blipFill>
              <a:blip r:embed="rId8" cstate="print">
                <a:duotone>
                  <a:schemeClr val="accent5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 flipH="1">
                <a:off x="5825797" y="5028616"/>
                <a:ext cx="1445804" cy="1445804"/>
              </a:xfrm>
              <a:prstGeom prst="rect">
                <a:avLst/>
              </a:prstGeom>
            </p:spPr>
          </p:pic>
          <p:pic>
            <p:nvPicPr>
              <p:cNvPr id="29735" name="圖片 45"/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14633" y="5267299"/>
                <a:ext cx="1457915" cy="14579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62" name="文字方塊 61"/>
            <p:cNvSpPr txBox="1"/>
            <p:nvPr/>
          </p:nvSpPr>
          <p:spPr>
            <a:xfrm>
              <a:off x="5634323" y="6476892"/>
              <a:ext cx="2325463" cy="37871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b="1" dirty="0">
                  <a:solidFill>
                    <a:schemeClr val="accent5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領域</a:t>
              </a:r>
              <a:r>
                <a:rPr lang="en-US" altLang="zh-TW" b="1" dirty="0">
                  <a:solidFill>
                    <a:schemeClr val="accent5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/</a:t>
              </a:r>
              <a:r>
                <a:rPr lang="zh-TW" altLang="en-US" b="1" dirty="0">
                  <a:solidFill>
                    <a:schemeClr val="accent5">
                      <a:lumMod val="75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科目</a:t>
              </a:r>
              <a:r>
                <a:rPr lang="zh-TW" altLang="en-US" b="1" dirty="0">
                  <a:solidFill>
                    <a:srgbClr val="C00000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學習重點</a:t>
              </a:r>
              <a:endParaRPr lang="en-US" altLang="zh-TW" b="1" dirty="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9715" name="群組 3"/>
          <p:cNvGrpSpPr>
            <a:grpSpLocks/>
          </p:cNvGrpSpPr>
          <p:nvPr/>
        </p:nvGrpSpPr>
        <p:grpSpPr bwMode="auto">
          <a:xfrm>
            <a:off x="4060825" y="5586413"/>
            <a:ext cx="1784350" cy="469900"/>
            <a:chOff x="4060154" y="5586227"/>
            <a:chExt cx="1785560" cy="470720"/>
          </a:xfrm>
        </p:grpSpPr>
        <p:cxnSp>
          <p:nvCxnSpPr>
            <p:cNvPr id="76" name="直線單箭頭接點 75"/>
            <p:cNvCxnSpPr/>
            <p:nvPr/>
          </p:nvCxnSpPr>
          <p:spPr>
            <a:xfrm flipH="1" flipV="1">
              <a:off x="4060154" y="5586227"/>
              <a:ext cx="1785560" cy="28625"/>
            </a:xfrm>
            <a:prstGeom prst="straightConnector1">
              <a:avLst/>
            </a:prstGeom>
            <a:ln w="76200">
              <a:solidFill>
                <a:schemeClr val="accent1">
                  <a:lumMod val="50000"/>
                </a:schemeClr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文字方塊 49"/>
            <p:cNvSpPr txBox="1"/>
            <p:nvPr/>
          </p:nvSpPr>
          <p:spPr>
            <a:xfrm>
              <a:off x="4625687" y="5688004"/>
              <a:ext cx="656083" cy="36894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對應</a:t>
              </a:r>
              <a:endParaRPr lang="en-US" altLang="zh-TW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9716" name="群組 4"/>
          <p:cNvGrpSpPr>
            <a:grpSpLocks/>
          </p:cNvGrpSpPr>
          <p:nvPr/>
        </p:nvGrpSpPr>
        <p:grpSpPr bwMode="auto">
          <a:xfrm>
            <a:off x="3949700" y="4456113"/>
            <a:ext cx="1093788" cy="1084262"/>
            <a:chOff x="3950458" y="4456051"/>
            <a:chExt cx="1092789" cy="1083697"/>
          </a:xfrm>
        </p:grpSpPr>
        <p:cxnSp>
          <p:nvCxnSpPr>
            <p:cNvPr id="73" name="直線單箭頭接點 72"/>
            <p:cNvCxnSpPr>
              <a:endCxn id="48" idx="3"/>
            </p:cNvCxnSpPr>
            <p:nvPr/>
          </p:nvCxnSpPr>
          <p:spPr>
            <a:xfrm flipH="1">
              <a:off x="4063068" y="4456051"/>
              <a:ext cx="980179" cy="1083697"/>
            </a:xfrm>
            <a:prstGeom prst="straightConnector1">
              <a:avLst/>
            </a:prstGeom>
            <a:ln w="76200">
              <a:solidFill>
                <a:schemeClr val="accent1">
                  <a:lumMod val="50000"/>
                </a:schemeClr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文字方塊 50"/>
            <p:cNvSpPr txBox="1"/>
            <p:nvPr/>
          </p:nvSpPr>
          <p:spPr>
            <a:xfrm>
              <a:off x="3950458" y="4659145"/>
              <a:ext cx="656625" cy="36969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發展</a:t>
              </a:r>
              <a:endParaRPr lang="en-US" altLang="zh-TW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grpSp>
        <p:nvGrpSpPr>
          <p:cNvPr id="29717" name="群組 8"/>
          <p:cNvGrpSpPr>
            <a:grpSpLocks/>
          </p:cNvGrpSpPr>
          <p:nvPr/>
        </p:nvGrpSpPr>
        <p:grpSpPr bwMode="auto">
          <a:xfrm>
            <a:off x="5054600" y="4483100"/>
            <a:ext cx="1076325" cy="1085850"/>
            <a:chOff x="5054032" y="4482349"/>
            <a:chExt cx="1077216" cy="1087292"/>
          </a:xfrm>
        </p:grpSpPr>
        <p:cxnSp>
          <p:nvCxnSpPr>
            <p:cNvPr id="78" name="直線單箭頭接點 77"/>
            <p:cNvCxnSpPr/>
            <p:nvPr/>
          </p:nvCxnSpPr>
          <p:spPr>
            <a:xfrm>
              <a:off x="5054032" y="4482349"/>
              <a:ext cx="800762" cy="1087292"/>
            </a:xfrm>
            <a:prstGeom prst="straightConnector1">
              <a:avLst/>
            </a:prstGeom>
            <a:ln w="76200">
              <a:solidFill>
                <a:schemeClr val="accent1">
                  <a:lumMod val="50000"/>
                </a:schemeClr>
              </a:solidFill>
              <a:headEnd type="triangl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文字方塊 52"/>
            <p:cNvSpPr txBox="1"/>
            <p:nvPr/>
          </p:nvSpPr>
          <p:spPr>
            <a:xfrm>
              <a:off x="5475068" y="4703305"/>
              <a:ext cx="656180" cy="370378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TW" altLang="en-US" b="1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發展</a:t>
              </a:r>
              <a:endParaRPr lang="en-US" altLang="zh-TW" b="1" dirty="0">
                <a:solidFill>
                  <a:schemeClr val="tx1">
                    <a:lumMod val="50000"/>
                    <a:lumOff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endParaRPr>
            </a:p>
          </p:txBody>
        </p:sp>
      </p:grpSp>
      <p:sp>
        <p:nvSpPr>
          <p:cNvPr id="29718" name="矩形 55"/>
          <p:cNvSpPr>
            <a:spLocks noChangeArrowheads="1"/>
          </p:cNvSpPr>
          <p:nvPr/>
        </p:nvSpPr>
        <p:spPr bwMode="auto">
          <a:xfrm>
            <a:off x="4208463" y="1431925"/>
            <a:ext cx="373380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2000" b="1">
                <a:solidFill>
                  <a:srgbClr val="1F4E79"/>
                </a:solidFill>
                <a:ea typeface="微軟正黑體" panose="020B0604030504040204" pitchFamily="34" charset="-120"/>
              </a:rPr>
              <a:t>核心素養在課程綱要的轉化及其與學習重點的對應關係圖</a:t>
            </a:r>
            <a:endParaRPr lang="zh-TW" altLang="en-US" sz="2000" b="1">
              <a:solidFill>
                <a:srgbClr val="1F4E79"/>
              </a:solidFill>
            </a:endParaRPr>
          </a:p>
        </p:txBody>
      </p:sp>
      <p:graphicFrame>
        <p:nvGraphicFramePr>
          <p:cNvPr id="24" name="表格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059581"/>
              </p:ext>
            </p:extLst>
          </p:nvPr>
        </p:nvGraphicFramePr>
        <p:xfrm>
          <a:off x="6146800" y="2183361"/>
          <a:ext cx="2874963" cy="11924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49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11924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8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以核心素養強化各教育階段、課程總綱與領域</a:t>
                      </a:r>
                      <a:r>
                        <a:rPr lang="en-US" altLang="zh-TW" sz="18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/</a:t>
                      </a:r>
                      <a:r>
                        <a:rPr lang="zh-TW" altLang="en-US" sz="18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科目之間的連貫，以及各領域</a:t>
                      </a:r>
                      <a:r>
                        <a:rPr lang="en-US" altLang="zh-TW" sz="18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/</a:t>
                      </a:r>
                      <a:r>
                        <a:rPr lang="zh-TW" altLang="en-US" sz="1800" b="1" dirty="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科目之間的統整。</a:t>
                      </a:r>
                      <a:endParaRPr lang="zh-TW" altLang="en-US" sz="1800" dirty="0"/>
                    </a:p>
                  </a:txBody>
                  <a:tcPr marL="91450" marR="91450" marT="45712" marB="45712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29725" name="投影片編號版面配置區 12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4463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74190AFC-71D7-44DB-9F37-CDC64BCFFDF4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0</a:t>
            </a:fld>
            <a:endParaRPr lang="zh-TW" altLang="en-US" sz="1200">
              <a:solidFill>
                <a:srgbClr val="898989"/>
              </a:solidFill>
            </a:endParaRPr>
          </a:p>
        </p:txBody>
      </p:sp>
      <p:pic>
        <p:nvPicPr>
          <p:cNvPr id="59" name="圖片 58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13360" y="6354457"/>
            <a:ext cx="1213165" cy="240141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內容版面配置區 3"/>
          <p:cNvGraphicFramePr>
            <a:graphicFrameLocks noGrp="1"/>
          </p:cNvGraphicFramePr>
          <p:nvPr>
            <p:ph sz="quarter" idx="1"/>
            <p:extLst>
              <p:ext uri="{D42A27DB-BD31-4B8C-83A1-F6EECF244321}">
                <p14:modId xmlns:p14="http://schemas.microsoft.com/office/powerpoint/2010/main" val="3203609128"/>
              </p:ext>
            </p:extLst>
          </p:nvPr>
        </p:nvGraphicFramePr>
        <p:xfrm>
          <a:off x="755576" y="1285860"/>
          <a:ext cx="7704856" cy="52394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1747" name="投影片編號版面配置區 10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3D2E6CC6-E08A-4F45-9383-E0D732943941}" type="slidenum">
              <a:rPr lang="zh-TW" altLang="en-US" sz="1200" smtClean="0">
                <a:solidFill>
                  <a:srgbClr val="898989"/>
                </a:solidFill>
                <a:latin typeface="Times New Roman" panose="02020603050405020304" pitchFamily="18" charset="0"/>
                <a:ea typeface="標楷體" panose="03000509000000000000" pitchFamily="65" charset="-120"/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1</a:t>
            </a:fld>
            <a:endParaRPr lang="zh-TW" altLang="en-US" sz="1200">
              <a:solidFill>
                <a:srgbClr val="898989"/>
              </a:solidFill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31748" name="矩形 33"/>
          <p:cNvSpPr>
            <a:spLocks noChangeArrowheads="1"/>
          </p:cNvSpPr>
          <p:nvPr/>
        </p:nvSpPr>
        <p:spPr bwMode="auto">
          <a:xfrm>
            <a:off x="3500437" y="3498850"/>
            <a:ext cx="2159000" cy="1079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3200" b="1" dirty="0">
                <a:solidFill>
                  <a:srgbClr val="00B0F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適性揚才</a:t>
            </a:r>
            <a:endParaRPr lang="en-US" altLang="zh-TW" sz="3200" b="1" dirty="0">
              <a:solidFill>
                <a:srgbClr val="00B0F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3200" b="1" dirty="0">
                <a:solidFill>
                  <a:srgbClr val="00B0F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終身學習</a:t>
            </a:r>
          </a:p>
        </p:txBody>
      </p:sp>
      <p:sp>
        <p:nvSpPr>
          <p:cNvPr id="6" name="等腰三角形 5"/>
          <p:cNvSpPr/>
          <p:nvPr/>
        </p:nvSpPr>
        <p:spPr>
          <a:xfrm>
            <a:off x="3104861" y="2401967"/>
            <a:ext cx="2895247" cy="2231678"/>
          </a:xfrm>
          <a:prstGeom prst="triangle">
            <a:avLst>
              <a:gd name="adj" fmla="val 51277"/>
            </a:avLst>
          </a:prstGeom>
          <a:solidFill>
            <a:srgbClr val="C00000">
              <a:alpha val="0"/>
            </a:srgbClr>
          </a:solidFill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 b="1" dirty="0">
              <a:ln w="22225">
                <a:solidFill>
                  <a:schemeClr val="accent2"/>
                </a:solidFill>
                <a:prstDash val="solid"/>
              </a:ln>
              <a:solidFill>
                <a:schemeClr val="accent2">
                  <a:lumMod val="40000"/>
                  <a:lumOff val="60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1750" name="矩形 7"/>
          <p:cNvSpPr>
            <a:spLocks noChangeArrowheads="1"/>
          </p:cNvSpPr>
          <p:nvPr/>
        </p:nvSpPr>
        <p:spPr bwMode="auto">
          <a:xfrm>
            <a:off x="332621" y="254748"/>
            <a:ext cx="8494633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zh-TW" altLang="en-US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十二年國教課綱特色及其在社會領域展現</a:t>
            </a:r>
          </a:p>
        </p:txBody>
      </p:sp>
      <p:sp>
        <p:nvSpPr>
          <p:cNvPr id="31751" name="Rectangle 6"/>
          <p:cNvSpPr>
            <a:spLocks noChangeArrowheads="1"/>
          </p:cNvSpPr>
          <p:nvPr/>
        </p:nvSpPr>
        <p:spPr bwMode="auto">
          <a:xfrm>
            <a:off x="5736298" y="1448995"/>
            <a:ext cx="3097213" cy="649287"/>
          </a:xfrm>
          <a:prstGeom prst="rect">
            <a:avLst/>
          </a:prstGeom>
          <a:solidFill>
            <a:schemeClr val="bg1">
              <a:alpha val="39999"/>
            </a:schemeClr>
          </a:solidFill>
          <a:ln w="9525">
            <a:solidFill>
              <a:srgbClr val="AAA066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以公民素養為指引，規劃不同</a:t>
            </a:r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形式的探究學習。</a:t>
            </a:r>
          </a:p>
        </p:txBody>
      </p:sp>
      <p:sp>
        <p:nvSpPr>
          <p:cNvPr id="31752" name="Rectangle 9"/>
          <p:cNvSpPr>
            <a:spLocks noChangeArrowheads="1"/>
          </p:cNvSpPr>
          <p:nvPr/>
        </p:nvSpPr>
        <p:spPr bwMode="auto">
          <a:xfrm>
            <a:off x="6497191" y="3626689"/>
            <a:ext cx="2359132" cy="803275"/>
          </a:xfrm>
          <a:prstGeom prst="rect">
            <a:avLst/>
          </a:prstGeom>
          <a:solidFill>
            <a:schemeClr val="bg1">
              <a:alpha val="39999"/>
            </a:schemeClr>
          </a:solidFill>
          <a:ln w="9525">
            <a:solidFill>
              <a:srgbClr val="AAA066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顧及不同地區、族群及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學校類型的特色，提供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課程發展的彈性。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1753" name="Rectangle 10"/>
          <p:cNvSpPr>
            <a:spLocks noChangeArrowheads="1"/>
          </p:cNvSpPr>
          <p:nvPr/>
        </p:nvSpPr>
        <p:spPr bwMode="auto">
          <a:xfrm>
            <a:off x="5719945" y="5640386"/>
            <a:ext cx="3151188" cy="813459"/>
          </a:xfrm>
          <a:prstGeom prst="rect">
            <a:avLst/>
          </a:prstGeom>
          <a:solidFill>
            <a:schemeClr val="bg1">
              <a:alpha val="39999"/>
            </a:schemeClr>
          </a:solidFill>
          <a:ln w="9525">
            <a:solidFill>
              <a:srgbClr val="AAA066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考量不同背景學生的生活經驗，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並兼顧生涯探索及發展，提供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自主學習空間。</a:t>
            </a:r>
          </a:p>
        </p:txBody>
      </p:sp>
      <p:sp>
        <p:nvSpPr>
          <p:cNvPr id="31754" name="Rectangle 13"/>
          <p:cNvSpPr>
            <a:spLocks noChangeArrowheads="1"/>
          </p:cNvSpPr>
          <p:nvPr/>
        </p:nvSpPr>
        <p:spPr bwMode="auto">
          <a:xfrm>
            <a:off x="410968" y="5634038"/>
            <a:ext cx="3061697" cy="859230"/>
          </a:xfrm>
          <a:prstGeom prst="rect">
            <a:avLst/>
          </a:prstGeom>
          <a:solidFill>
            <a:schemeClr val="bg1">
              <a:alpha val="39999"/>
            </a:schemeClr>
          </a:solidFill>
          <a:ln w="9525">
            <a:solidFill>
              <a:srgbClr val="AAA066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透過多重策略，達成領域內縱向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連貫、區隔與橫向整合，避免內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容過多與不必要重複。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1755" name="Rectangle 14"/>
          <p:cNvSpPr>
            <a:spLocks noChangeArrowheads="1"/>
          </p:cNvSpPr>
          <p:nvPr/>
        </p:nvSpPr>
        <p:spPr bwMode="auto">
          <a:xfrm>
            <a:off x="319250" y="2021546"/>
            <a:ext cx="1549308" cy="721653"/>
          </a:xfrm>
          <a:prstGeom prst="rect">
            <a:avLst/>
          </a:prstGeom>
          <a:solidFill>
            <a:schemeClr val="bg1">
              <a:alpha val="39999"/>
            </a:schemeClr>
          </a:solidFill>
          <a:ln w="9525">
            <a:solidFill>
              <a:srgbClr val="AAA066"/>
            </a:solidFill>
            <a:miter lim="800000"/>
            <a:headEnd/>
            <a:tailEnd/>
          </a:ln>
        </p:spPr>
        <p:txBody>
          <a:bodyPr wrap="none"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加強師資培訓、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強化支持系統</a:t>
            </a:r>
            <a:endParaRPr lang="en-US" altLang="zh-TW" sz="1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7" dur="3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標題 1"/>
          <p:cNvSpPr>
            <a:spLocks noGrp="1"/>
          </p:cNvSpPr>
          <p:nvPr>
            <p:ph type="title"/>
          </p:nvPr>
        </p:nvSpPr>
        <p:spPr>
          <a:xfrm>
            <a:off x="692150" y="2627313"/>
            <a:ext cx="7886700" cy="1325562"/>
          </a:xfrm>
        </p:spPr>
        <p:txBody>
          <a:bodyPr/>
          <a:lstStyle/>
          <a:p>
            <a:pPr eaLnBrk="1" hangingPunct="1">
              <a:lnSpc>
                <a:spcPct val="150000"/>
              </a:lnSpc>
              <a:defRPr/>
            </a:pPr>
            <a:r>
              <a:rPr lang="zh-TW" alt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二、</a:t>
            </a:r>
            <a:br>
              <a:rPr lang="en-US" altLang="zh-TW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zh-TW" alt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十二年國民基本教育</a:t>
            </a:r>
            <a:br>
              <a:rPr lang="en-US" altLang="zh-TW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zh-TW" alt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課程綱要總綱課程架構</a:t>
            </a:r>
          </a:p>
        </p:txBody>
      </p:sp>
      <p:sp>
        <p:nvSpPr>
          <p:cNvPr id="33795" name="投影片編號版面配置區 3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79CF241C-3718-486F-886D-47D751E99BBF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2</a:t>
            </a:fld>
            <a:endParaRPr lang="zh-TW" altLang="en-US" sz="1200">
              <a:solidFill>
                <a:srgbClr val="898989"/>
              </a:solidFill>
            </a:endParaRPr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9319" y="6485835"/>
            <a:ext cx="1220238" cy="233955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AutoShape 3"/>
          <p:cNvSpPr>
            <a:spLocks noChangeArrowheads="1"/>
          </p:cNvSpPr>
          <p:nvPr/>
        </p:nvSpPr>
        <p:spPr bwMode="auto">
          <a:xfrm>
            <a:off x="482600" y="350838"/>
            <a:ext cx="8375650" cy="917575"/>
          </a:xfrm>
          <a:prstGeom prst="roundRect">
            <a:avLst>
              <a:gd name="adj" fmla="val 16667"/>
            </a:avLst>
          </a:prstGeom>
          <a:noFill/>
          <a:ln w="76200">
            <a:noFill/>
            <a:round/>
            <a:headEnd/>
            <a:tailEnd/>
          </a:ln>
          <a:effectLst>
            <a:outerShdw dist="28398" dir="3806097" algn="ctr" rotWithShape="0">
              <a:srgbClr val="243F60">
                <a:alpha val="50000"/>
              </a:srgbClr>
            </a:outerShdw>
          </a:effec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zh-TW" altLang="en-US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國民中小學課程類型架構與內涵</a:t>
            </a:r>
          </a:p>
        </p:txBody>
      </p:sp>
      <p:graphicFrame>
        <p:nvGraphicFramePr>
          <p:cNvPr id="8" name="資料庫圖表 7"/>
          <p:cNvGraphicFramePr/>
          <p:nvPr>
            <p:extLst>
              <p:ext uri="{D42A27DB-BD31-4B8C-83A1-F6EECF244321}">
                <p14:modId xmlns:p14="http://schemas.microsoft.com/office/powerpoint/2010/main" val="4131876655"/>
              </p:ext>
            </p:extLst>
          </p:nvPr>
        </p:nvGraphicFramePr>
        <p:xfrm>
          <a:off x="731043" y="809625"/>
          <a:ext cx="8127207" cy="5753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4820" name="文字方塊 3"/>
          <p:cNvSpPr txBox="1">
            <a:spLocks noChangeArrowheads="1"/>
          </p:cNvSpPr>
          <p:nvPr/>
        </p:nvSpPr>
        <p:spPr bwMode="auto">
          <a:xfrm>
            <a:off x="3044825" y="5692775"/>
            <a:ext cx="3351213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buFontTx/>
              <a:buNone/>
            </a:pPr>
            <a:r>
              <a:rPr lang="zh-TW" altLang="en-US" sz="2000" b="1" dirty="0">
                <a:solidFill>
                  <a:srgbClr val="B2003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減少每週修習科目數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buFontTx/>
              <a:buNone/>
            </a:pPr>
            <a:r>
              <a:rPr lang="zh-TW" altLang="zh-TW" sz="2000" b="1" dirty="0">
                <a:solidFill>
                  <a:srgbClr val="B2003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素養導向之領域教學</a:t>
            </a:r>
            <a:endParaRPr lang="en-US" altLang="zh-TW" sz="2000" b="1" dirty="0">
              <a:solidFill>
                <a:srgbClr val="B2003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Clr>
                <a:srgbClr val="000099"/>
              </a:buClr>
              <a:buFontTx/>
              <a:buNone/>
            </a:pPr>
            <a:r>
              <a:rPr lang="zh-TW" altLang="zh-TW" sz="2000" b="1" dirty="0">
                <a:solidFill>
                  <a:srgbClr val="B2003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跨領域統整</a:t>
            </a:r>
            <a:r>
              <a:rPr lang="zh-TW" altLang="en-US" sz="2000" b="1" dirty="0">
                <a:solidFill>
                  <a:srgbClr val="B2003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教學</a:t>
            </a:r>
            <a:endParaRPr lang="en-US" altLang="zh-TW" sz="2000" b="1" dirty="0">
              <a:solidFill>
                <a:srgbClr val="B2003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4821" name="投影片編號版面配置區 1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5FCF7962-1AC9-410C-9E7F-40BF0B378120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3</a:t>
            </a:fld>
            <a:endParaRPr lang="zh-TW" altLang="en-US" sz="1200">
              <a:solidFill>
                <a:srgbClr val="898989"/>
              </a:solidFill>
            </a:endParaRPr>
          </a:p>
        </p:txBody>
      </p:sp>
      <p:sp>
        <p:nvSpPr>
          <p:cNvPr id="5" name="五角星形 4"/>
          <p:cNvSpPr/>
          <p:nvPr/>
        </p:nvSpPr>
        <p:spPr>
          <a:xfrm>
            <a:off x="2816225" y="5732463"/>
            <a:ext cx="265113" cy="254000"/>
          </a:xfrm>
          <a:prstGeom prst="star5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/>
          </a:p>
        </p:txBody>
      </p:sp>
      <p:sp>
        <p:nvSpPr>
          <p:cNvPr id="9" name="五角星形 8"/>
          <p:cNvSpPr/>
          <p:nvPr/>
        </p:nvSpPr>
        <p:spPr>
          <a:xfrm>
            <a:off x="2813050" y="5992813"/>
            <a:ext cx="265113" cy="255587"/>
          </a:xfrm>
          <a:prstGeom prst="star5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/>
          </a:p>
        </p:txBody>
      </p:sp>
      <p:sp>
        <p:nvSpPr>
          <p:cNvPr id="10" name="五角星形 9"/>
          <p:cNvSpPr/>
          <p:nvPr/>
        </p:nvSpPr>
        <p:spPr>
          <a:xfrm>
            <a:off x="2816225" y="6327775"/>
            <a:ext cx="265113" cy="255588"/>
          </a:xfrm>
          <a:prstGeom prst="star5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45"/>
          <a:stretch/>
        </p:blipFill>
        <p:spPr bwMode="auto">
          <a:xfrm>
            <a:off x="2762327" y="155809"/>
            <a:ext cx="6102189" cy="5855691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6867" name="AutoShape 3"/>
          <p:cNvSpPr>
            <a:spLocks noChangeArrowheads="1"/>
          </p:cNvSpPr>
          <p:nvPr/>
        </p:nvSpPr>
        <p:spPr bwMode="auto">
          <a:xfrm>
            <a:off x="58738" y="0"/>
            <a:ext cx="2466975" cy="900113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>
            <a:noFill/>
          </a:ln>
          <a:effectLst>
            <a:outerShdw dist="28398" dir="3806097" algn="ctr" rotWithShape="0">
              <a:srgbClr val="243F60">
                <a:alpha val="50000"/>
              </a:srgbClr>
            </a:outerShdw>
          </a:effectLst>
          <a:extLst>
            <a:ext uri="{91240B29-F687-4F45-9708-019B960494DF}">
              <a14:hiddenLine xmlns:a14="http://schemas.microsoft.com/office/drawing/2010/main" w="76200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zh-TW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國民中小學</a:t>
            </a:r>
            <a:endParaRPr lang="en-US" altLang="zh-TW" sz="2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zh-TW" altLang="en-US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領域及名稱調整</a:t>
            </a:r>
            <a:endParaRPr lang="zh-TW" altLang="zh-TW" sz="2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" name="直線圖說文字 2 6"/>
          <p:cNvSpPr/>
          <p:nvPr/>
        </p:nvSpPr>
        <p:spPr>
          <a:xfrm flipH="1">
            <a:off x="433388" y="919163"/>
            <a:ext cx="2136775" cy="701675"/>
          </a:xfrm>
          <a:prstGeom prst="borderCallout2">
            <a:avLst>
              <a:gd name="adj1" fmla="val 45046"/>
              <a:gd name="adj2" fmla="val -95362"/>
              <a:gd name="adj3" fmla="val 46036"/>
              <a:gd name="adj4" fmla="val -33990"/>
              <a:gd name="adj5" fmla="val 46489"/>
              <a:gd name="adj6" fmla="val 111"/>
            </a:avLst>
          </a:prstGeom>
          <a:ln w="38100">
            <a:solidFill>
              <a:schemeClr val="accent4">
                <a:lumMod val="60000"/>
                <a:lumOff val="40000"/>
              </a:schemeClr>
            </a:solidFill>
            <a:headEnd type="triangle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zh-TW" sz="2000" b="1" dirty="0">
              <a:solidFill>
                <a:sysClr val="windowText" lastClr="0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dirty="0">
                <a:solidFill>
                  <a:sysClr val="windowText" lastClr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國小</a:t>
            </a:r>
            <a:r>
              <a:rPr lang="zh-TW" altLang="zh-TW" sz="1600" dirty="0">
                <a:solidFill>
                  <a:sysClr val="windowText" lastClr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「語文領域」</a:t>
            </a:r>
            <a:endParaRPr lang="en-US" altLang="zh-TW" sz="1600" dirty="0">
              <a:solidFill>
                <a:sysClr val="windowText" lastClr="0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zh-TW" sz="1600" dirty="0">
                <a:solidFill>
                  <a:sysClr val="windowText" lastClr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增</a:t>
            </a:r>
            <a:r>
              <a:rPr lang="zh-TW" altLang="en-US" sz="1600" dirty="0">
                <a:solidFill>
                  <a:sysClr val="windowText" lastClr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zh-TW" sz="1600" b="1" dirty="0">
                <a:solidFill>
                  <a:sysClr val="windowText" lastClr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「新住民語文」</a:t>
            </a:r>
            <a:endParaRPr lang="zh-TW" altLang="en-US" sz="1600" b="1" dirty="0">
              <a:solidFill>
                <a:sysClr val="windowText" lastClr="0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 dirty="0">
              <a:solidFill>
                <a:sysClr val="windowText" lastClr="0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9" name="直線圖說文字 2 8"/>
          <p:cNvSpPr/>
          <p:nvPr/>
        </p:nvSpPr>
        <p:spPr>
          <a:xfrm flipH="1">
            <a:off x="417513" y="1793875"/>
            <a:ext cx="2166937" cy="677863"/>
          </a:xfrm>
          <a:prstGeom prst="borderCallout2">
            <a:avLst>
              <a:gd name="adj1" fmla="val 47989"/>
              <a:gd name="adj2" fmla="val 488"/>
              <a:gd name="adj3" fmla="val 81526"/>
              <a:gd name="adj4" fmla="val -31057"/>
              <a:gd name="adj5" fmla="val 89838"/>
              <a:gd name="adj6" fmla="val -40264"/>
            </a:avLst>
          </a:prstGeom>
          <a:solidFill>
            <a:schemeClr val="accent2">
              <a:lumMod val="50000"/>
            </a:schemeClr>
          </a:solidFill>
          <a:ln w="38100" cmpd="sng">
            <a:solidFill>
              <a:schemeClr val="accent2">
                <a:lumMod val="50000"/>
              </a:schemeClr>
            </a:solidFill>
            <a:tailEnd type="triangle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zh-TW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「自然與生活科技」</a:t>
            </a:r>
            <a:endParaRPr lang="en-US" altLang="zh-TW" sz="16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zh-TW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更名為</a:t>
            </a:r>
            <a:r>
              <a:rPr lang="zh-TW" altLang="zh-TW" sz="16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「自然科學」</a:t>
            </a:r>
            <a:endParaRPr lang="zh-TW" altLang="en-US" sz="14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0" name="直線圖說文字 2 9"/>
          <p:cNvSpPr/>
          <p:nvPr/>
        </p:nvSpPr>
        <p:spPr>
          <a:xfrm flipH="1">
            <a:off x="404813" y="2673350"/>
            <a:ext cx="2179637" cy="712788"/>
          </a:xfrm>
          <a:prstGeom prst="borderCallout2">
            <a:avLst>
              <a:gd name="adj1" fmla="val 44114"/>
              <a:gd name="adj2" fmla="val -40640"/>
              <a:gd name="adj3" fmla="val 44951"/>
              <a:gd name="adj4" fmla="val -40195"/>
              <a:gd name="adj5" fmla="val 44230"/>
              <a:gd name="adj6" fmla="val 207"/>
            </a:avLst>
          </a:prstGeom>
          <a:solidFill>
            <a:schemeClr val="accent6">
              <a:lumMod val="50000"/>
            </a:schemeClr>
          </a:solidFill>
          <a:ln w="38100">
            <a:solidFill>
              <a:schemeClr val="accent6">
                <a:lumMod val="50000"/>
              </a:schemeClr>
            </a:solidFill>
            <a:headEnd type="triangle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zh-TW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「藝術與人文領域」更名為</a:t>
            </a:r>
            <a:r>
              <a:rPr lang="zh-TW" altLang="zh-TW" sz="16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「藝術領域」</a:t>
            </a:r>
            <a:endParaRPr lang="zh-TW" altLang="en-US" sz="16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5" name="直線圖說文字 2 14"/>
          <p:cNvSpPr/>
          <p:nvPr/>
        </p:nvSpPr>
        <p:spPr>
          <a:xfrm flipH="1">
            <a:off x="433388" y="4403725"/>
            <a:ext cx="2166937" cy="801688"/>
          </a:xfrm>
          <a:prstGeom prst="borderCallout2">
            <a:avLst>
              <a:gd name="adj1" fmla="val -102883"/>
              <a:gd name="adj2" fmla="val -106327"/>
              <a:gd name="adj3" fmla="val 15461"/>
              <a:gd name="adj4" fmla="val -94894"/>
              <a:gd name="adj5" fmla="val 54504"/>
              <a:gd name="adj6" fmla="val -890"/>
            </a:avLst>
          </a:prstGeom>
          <a:solidFill>
            <a:schemeClr val="accent4">
              <a:lumMod val="75000"/>
            </a:schemeClr>
          </a:solidFill>
          <a:ln w="41275">
            <a:solidFill>
              <a:schemeClr val="accent4">
                <a:lumMod val="75000"/>
              </a:schemeClr>
            </a:solidFill>
            <a:headEnd type="triangle"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第一學習階段</a:t>
            </a:r>
            <a:endParaRPr lang="en-US" altLang="zh-TW" sz="16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zh-TW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「</a:t>
            </a:r>
            <a:r>
              <a:rPr lang="zh-TW" altLang="en-US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綜合活動領域</a:t>
            </a:r>
            <a:r>
              <a:rPr lang="zh-TW" altLang="zh-TW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」</a:t>
            </a:r>
            <a:endParaRPr lang="en-US" altLang="zh-TW" sz="16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整併至</a:t>
            </a:r>
            <a:r>
              <a:rPr lang="zh-TW" altLang="zh-TW" sz="16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「</a:t>
            </a:r>
            <a:r>
              <a:rPr lang="zh-TW" altLang="en-US" sz="16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生活課程</a:t>
            </a:r>
            <a:r>
              <a:rPr lang="zh-TW" altLang="zh-TW" sz="1600" b="1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」</a:t>
            </a:r>
            <a:endParaRPr lang="zh-TW" altLang="en-US" sz="1400" b="1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6" name="直線圖說文字 2 15"/>
          <p:cNvSpPr/>
          <p:nvPr/>
        </p:nvSpPr>
        <p:spPr>
          <a:xfrm flipH="1">
            <a:off x="419100" y="3560763"/>
            <a:ext cx="2181225" cy="679450"/>
          </a:xfrm>
          <a:prstGeom prst="borderCallout2">
            <a:avLst>
              <a:gd name="adj1" fmla="val 37548"/>
              <a:gd name="adj2" fmla="val -39055"/>
              <a:gd name="adj3" fmla="val 34753"/>
              <a:gd name="adj4" fmla="val -18871"/>
              <a:gd name="adj5" fmla="val 57180"/>
              <a:gd name="adj6" fmla="val 2016"/>
            </a:avLst>
          </a:prstGeom>
          <a:ln w="38100">
            <a:solidFill>
              <a:srgbClr val="ED7D31"/>
            </a:solidFill>
            <a:headEnd type="triangle"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dirty="0">
                <a:solidFill>
                  <a:sysClr val="windowText" lastClr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國中</a:t>
            </a:r>
            <a:endParaRPr lang="en-US" altLang="zh-TW" sz="1600" dirty="0">
              <a:solidFill>
                <a:sysClr val="windowText" lastClr="0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zh-TW" sz="1600" dirty="0">
                <a:solidFill>
                  <a:sysClr val="windowText" lastClr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新增</a:t>
            </a:r>
            <a:r>
              <a:rPr lang="zh-TW" altLang="en-US" sz="1600" dirty="0">
                <a:solidFill>
                  <a:sysClr val="windowText" lastClr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</a:t>
            </a:r>
            <a:r>
              <a:rPr lang="zh-TW" altLang="zh-TW" sz="1600" b="1" dirty="0">
                <a:solidFill>
                  <a:sysClr val="windowText" lastClr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「</a:t>
            </a:r>
            <a:r>
              <a:rPr lang="zh-TW" altLang="en-US" sz="1600" b="1" dirty="0">
                <a:solidFill>
                  <a:sysClr val="windowText" lastClr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科技</a:t>
            </a:r>
            <a:r>
              <a:rPr lang="zh-TW" altLang="zh-TW" sz="1600" b="1" dirty="0">
                <a:solidFill>
                  <a:sysClr val="windowText" lastClr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領域」</a:t>
            </a:r>
            <a:endParaRPr lang="zh-TW" altLang="en-US" sz="1600" b="1" dirty="0">
              <a:solidFill>
                <a:sysClr val="windowText" lastClr="0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7" name="直線圖說文字 2 16"/>
          <p:cNvSpPr/>
          <p:nvPr/>
        </p:nvSpPr>
        <p:spPr>
          <a:xfrm flipH="1">
            <a:off x="430213" y="5486400"/>
            <a:ext cx="2166937" cy="1022350"/>
          </a:xfrm>
          <a:prstGeom prst="borderCallout2">
            <a:avLst>
              <a:gd name="adj1" fmla="val -105578"/>
              <a:gd name="adj2" fmla="val -238609"/>
              <a:gd name="adj3" fmla="val -79977"/>
              <a:gd name="adj4" fmla="val -220912"/>
              <a:gd name="adj5" fmla="val 48484"/>
              <a:gd name="adj6" fmla="val 433"/>
            </a:avLst>
          </a:prstGeom>
          <a:solidFill>
            <a:schemeClr val="accent6">
              <a:lumMod val="50000"/>
            </a:schemeClr>
          </a:solidFill>
          <a:ln w="34925">
            <a:solidFill>
              <a:schemeClr val="accent6">
                <a:lumMod val="50000"/>
              </a:schemeClr>
            </a:solidFill>
            <a:headEnd type="triangle"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第四學習階段</a:t>
            </a:r>
            <a:endParaRPr lang="en-US" altLang="zh-TW" sz="16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zh-TW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「</a:t>
            </a:r>
            <a:r>
              <a:rPr lang="zh-TW" altLang="en-US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健康與體育</a:t>
            </a:r>
            <a:r>
              <a:rPr lang="zh-TW" altLang="zh-TW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」</a:t>
            </a:r>
            <a:r>
              <a:rPr lang="zh-TW" altLang="en-US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之「健康」更名為</a:t>
            </a:r>
            <a:endParaRPr lang="en-US" altLang="zh-TW" sz="16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zh-TW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「</a:t>
            </a:r>
            <a:r>
              <a:rPr lang="zh-TW" altLang="en-US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健康教育</a:t>
            </a:r>
            <a:r>
              <a:rPr lang="zh-TW" altLang="zh-TW" sz="16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」</a:t>
            </a:r>
            <a:endParaRPr lang="zh-TW" altLang="en-US" sz="1600" dirty="0">
              <a:solidFill>
                <a:schemeClr val="bg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6874" name="投影片編號版面配置區 1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0183C253-0EF2-4A16-9E1D-02CD35B5BAD3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4</a:t>
            </a:fld>
            <a:endParaRPr lang="zh-TW" altLang="en-US" sz="1200">
              <a:solidFill>
                <a:srgbClr val="898989"/>
              </a:solidFill>
            </a:endParaRPr>
          </a:p>
        </p:txBody>
      </p:sp>
      <p:sp>
        <p:nvSpPr>
          <p:cNvPr id="3" name="矩形 2"/>
          <p:cNvSpPr/>
          <p:nvPr/>
        </p:nvSpPr>
        <p:spPr>
          <a:xfrm>
            <a:off x="4645025" y="1050925"/>
            <a:ext cx="1022350" cy="325438"/>
          </a:xfrm>
          <a:prstGeom prst="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3" name="矩形 12"/>
          <p:cNvSpPr/>
          <p:nvPr/>
        </p:nvSpPr>
        <p:spPr>
          <a:xfrm>
            <a:off x="4679950" y="1719263"/>
            <a:ext cx="1023938" cy="1841500"/>
          </a:xfrm>
          <a:prstGeom prst="rect">
            <a:avLst/>
          </a:prstGeom>
          <a:noFill/>
          <a:ln w="57150"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4" name="矩形 13"/>
          <p:cNvSpPr/>
          <p:nvPr/>
        </p:nvSpPr>
        <p:spPr>
          <a:xfrm>
            <a:off x="3448050" y="2146300"/>
            <a:ext cx="1196975" cy="606425"/>
          </a:xfrm>
          <a:prstGeom prst="rect">
            <a:avLst/>
          </a:prstGeom>
          <a:noFill/>
          <a:ln w="571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18" name="矩形 17"/>
          <p:cNvSpPr/>
          <p:nvPr/>
        </p:nvSpPr>
        <p:spPr>
          <a:xfrm>
            <a:off x="3448050" y="3560763"/>
            <a:ext cx="1196975" cy="431800"/>
          </a:xfrm>
          <a:prstGeom prst="rect">
            <a:avLst/>
          </a:prstGeom>
          <a:noFill/>
          <a:ln w="57150"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0" name="矩形 19"/>
          <p:cNvSpPr/>
          <p:nvPr/>
        </p:nvSpPr>
        <p:spPr>
          <a:xfrm>
            <a:off x="3448050" y="2794000"/>
            <a:ext cx="1196975" cy="401638"/>
          </a:xfrm>
          <a:prstGeom prst="rect">
            <a:avLst/>
          </a:prstGeom>
          <a:noFill/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  <p:sp>
        <p:nvSpPr>
          <p:cNvPr id="21" name="矩形 20"/>
          <p:cNvSpPr/>
          <p:nvPr/>
        </p:nvSpPr>
        <p:spPr>
          <a:xfrm>
            <a:off x="7767638" y="3990975"/>
            <a:ext cx="1014412" cy="401638"/>
          </a:xfrm>
          <a:prstGeom prst="rect">
            <a:avLst/>
          </a:prstGeom>
          <a:noFill/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TW" altLang="en-US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文字方塊 20"/>
          <p:cNvSpPr txBox="1">
            <a:spLocks noChangeArrowheads="1"/>
          </p:cNvSpPr>
          <p:nvPr/>
        </p:nvSpPr>
        <p:spPr bwMode="auto">
          <a:xfrm>
            <a:off x="323850" y="157163"/>
            <a:ext cx="8459788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zh-TW" altLang="en-US" sz="4000" b="1" dirty="0">
                <a:solidFill>
                  <a:srgbClr val="7030A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  </a:t>
            </a:r>
            <a:r>
              <a:rPr lang="zh-TW" altLang="en-US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普通型高中課程類型架構與內涵</a:t>
            </a:r>
          </a:p>
        </p:txBody>
      </p:sp>
      <p:sp>
        <p:nvSpPr>
          <p:cNvPr id="22" name="圓角矩形圖說文字 9"/>
          <p:cNvSpPr>
            <a:spLocks noChangeArrowheads="1"/>
          </p:cNvSpPr>
          <p:nvPr/>
        </p:nvSpPr>
        <p:spPr bwMode="auto">
          <a:xfrm>
            <a:off x="6421438" y="4652963"/>
            <a:ext cx="1128712" cy="1566862"/>
          </a:xfrm>
          <a:prstGeom prst="wedgeRoundRectCallout">
            <a:avLst>
              <a:gd name="adj1" fmla="val -27983"/>
              <a:gd name="adj2" fmla="val -72554"/>
              <a:gd name="adj3" fmla="val 16667"/>
            </a:avLst>
          </a:prstGeom>
          <a:ln w="28575"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提供適性與差異化教學，</a:t>
            </a:r>
            <a:r>
              <a:rPr lang="zh-TW" altLang="en-US" sz="1600" b="1" dirty="0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確保學生基本學力</a:t>
            </a:r>
            <a:endParaRPr lang="en-US" altLang="zh-TW" sz="1600" b="1" dirty="0">
              <a:solidFill>
                <a:srgbClr val="FF0000"/>
              </a:solidFill>
              <a:latin typeface="微軟正黑體" pitchFamily="34" charset="-120"/>
              <a:ea typeface="微軟正黑體" pitchFamily="34" charset="-120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 sz="1600" b="1" dirty="0">
              <a:solidFill>
                <a:prstClr val="black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25" name="圓角矩形 24"/>
          <p:cNvSpPr/>
          <p:nvPr/>
        </p:nvSpPr>
        <p:spPr bwMode="auto">
          <a:xfrm>
            <a:off x="71438" y="3506788"/>
            <a:ext cx="8807450" cy="808037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400" b="1" dirty="0">
                <a:solidFill>
                  <a:srgbClr val="002060"/>
                </a:solidFill>
                <a:latin typeface="微軟正黑體" pitchFamily="34" charset="-120"/>
                <a:ea typeface="微軟正黑體" pitchFamily="34" charset="-120"/>
              </a:rPr>
              <a:t>類別項目</a:t>
            </a:r>
          </a:p>
        </p:txBody>
      </p:sp>
      <p:sp>
        <p:nvSpPr>
          <p:cNvPr id="24" name="圓角矩形 23"/>
          <p:cNvSpPr/>
          <p:nvPr/>
        </p:nvSpPr>
        <p:spPr bwMode="auto">
          <a:xfrm>
            <a:off x="71438" y="2320925"/>
            <a:ext cx="8904287" cy="808038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400" b="1" dirty="0">
                <a:solidFill>
                  <a:srgbClr val="002060"/>
                </a:solidFill>
                <a:latin typeface="微軟正黑體" pitchFamily="34" charset="-120"/>
                <a:ea typeface="微軟正黑體" pitchFamily="34" charset="-120"/>
              </a:rPr>
              <a:t>課程類別</a:t>
            </a:r>
          </a:p>
        </p:txBody>
      </p:sp>
      <p:sp>
        <p:nvSpPr>
          <p:cNvPr id="23" name="圓角矩形 22"/>
          <p:cNvSpPr/>
          <p:nvPr/>
        </p:nvSpPr>
        <p:spPr bwMode="auto">
          <a:xfrm>
            <a:off x="96838" y="1169988"/>
            <a:ext cx="8782050" cy="809625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400" b="1" dirty="0">
                <a:solidFill>
                  <a:srgbClr val="002060"/>
                </a:solidFill>
                <a:latin typeface="微軟正黑體" pitchFamily="34" charset="-120"/>
                <a:ea typeface="微軟正黑體" pitchFamily="34" charset="-120"/>
              </a:rPr>
              <a:t>學制</a:t>
            </a:r>
          </a:p>
        </p:txBody>
      </p:sp>
      <p:sp>
        <p:nvSpPr>
          <p:cNvPr id="1033" name="圓角矩形圖說文字 6"/>
          <p:cNvSpPr>
            <a:spLocks noChangeArrowheads="1"/>
          </p:cNvSpPr>
          <p:nvPr/>
        </p:nvSpPr>
        <p:spPr bwMode="auto">
          <a:xfrm>
            <a:off x="4879975" y="4651375"/>
            <a:ext cx="1474788" cy="1706563"/>
          </a:xfrm>
          <a:prstGeom prst="wedgeRoundRectCallout">
            <a:avLst>
              <a:gd name="adj1" fmla="val -9304"/>
              <a:gd name="adj2" fmla="val -68956"/>
              <a:gd name="adj3" fmla="val 16667"/>
            </a:avLst>
          </a:prstGeom>
          <a:ln w="28575"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5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提供學校發展校本特色課程，以跨領域，</a:t>
            </a:r>
            <a:r>
              <a:rPr lang="zh-TW" altLang="en-US" sz="1500" b="1" dirty="0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知識統整應用類型之課程</a:t>
            </a:r>
            <a:r>
              <a:rPr lang="zh-TW" altLang="en-US" sz="15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為主</a:t>
            </a:r>
          </a:p>
        </p:txBody>
      </p:sp>
      <p:sp>
        <p:nvSpPr>
          <p:cNvPr id="12" name="圓角矩形 11"/>
          <p:cNvSpPr/>
          <p:nvPr/>
        </p:nvSpPr>
        <p:spPr bwMode="auto">
          <a:xfrm>
            <a:off x="1547813" y="2332038"/>
            <a:ext cx="2016125" cy="796925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800" b="1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部定</a:t>
            </a:r>
          </a:p>
        </p:txBody>
      </p:sp>
      <p:sp>
        <p:nvSpPr>
          <p:cNvPr id="13" name="圓角矩形 12"/>
          <p:cNvSpPr/>
          <p:nvPr/>
        </p:nvSpPr>
        <p:spPr bwMode="auto">
          <a:xfrm>
            <a:off x="5060950" y="3603625"/>
            <a:ext cx="906463" cy="700088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b="1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校訂</a:t>
            </a:r>
            <a:endParaRPr lang="en-US" altLang="zh-TW" sz="1600" b="1" dirty="0">
              <a:solidFill>
                <a:schemeClr val="tx1"/>
              </a:solidFill>
              <a:latin typeface="微軟正黑體" pitchFamily="34" charset="-120"/>
              <a:ea typeface="微軟正黑體" pitchFamily="34" charset="-12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b="1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必修</a:t>
            </a:r>
          </a:p>
        </p:txBody>
      </p:sp>
      <p:sp>
        <p:nvSpPr>
          <p:cNvPr id="14" name="圓角矩形 13"/>
          <p:cNvSpPr/>
          <p:nvPr/>
        </p:nvSpPr>
        <p:spPr bwMode="auto">
          <a:xfrm>
            <a:off x="2484438" y="3573463"/>
            <a:ext cx="1079500" cy="698500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b="1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加深加廣選修</a:t>
            </a:r>
          </a:p>
        </p:txBody>
      </p:sp>
      <p:sp>
        <p:nvSpPr>
          <p:cNvPr id="15" name="圓角矩形 14"/>
          <p:cNvSpPr/>
          <p:nvPr/>
        </p:nvSpPr>
        <p:spPr bwMode="auto">
          <a:xfrm>
            <a:off x="6130925" y="3573463"/>
            <a:ext cx="942975" cy="700087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b="1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補強性</a:t>
            </a:r>
            <a:endParaRPr lang="en-US" altLang="zh-TW" sz="1600" b="1" dirty="0">
              <a:solidFill>
                <a:schemeClr val="tx1"/>
              </a:solidFill>
              <a:latin typeface="微軟正黑體" pitchFamily="34" charset="-120"/>
              <a:ea typeface="微軟正黑體" pitchFamily="34" charset="-12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b="1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選修</a:t>
            </a:r>
          </a:p>
        </p:txBody>
      </p:sp>
      <p:sp>
        <p:nvSpPr>
          <p:cNvPr id="16" name="圓角矩形 15"/>
          <p:cNvSpPr/>
          <p:nvPr/>
        </p:nvSpPr>
        <p:spPr bwMode="auto">
          <a:xfrm>
            <a:off x="3865563" y="2332038"/>
            <a:ext cx="5111750" cy="814387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800" b="1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校         訂</a:t>
            </a:r>
          </a:p>
        </p:txBody>
      </p:sp>
      <p:sp>
        <p:nvSpPr>
          <p:cNvPr id="17" name="圓角矩形 16"/>
          <p:cNvSpPr/>
          <p:nvPr/>
        </p:nvSpPr>
        <p:spPr bwMode="auto">
          <a:xfrm>
            <a:off x="1617663" y="3563938"/>
            <a:ext cx="788987" cy="700087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b="1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部定</a:t>
            </a:r>
            <a:endParaRPr lang="en-US" altLang="zh-TW" sz="1600" b="1" dirty="0">
              <a:solidFill>
                <a:schemeClr val="tx1"/>
              </a:solidFill>
              <a:latin typeface="微軟正黑體" pitchFamily="34" charset="-120"/>
              <a:ea typeface="微軟正黑體" pitchFamily="34" charset="-12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b="1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必修</a:t>
            </a:r>
          </a:p>
        </p:txBody>
      </p:sp>
      <p:sp>
        <p:nvSpPr>
          <p:cNvPr id="18" name="圓角矩形 17"/>
          <p:cNvSpPr/>
          <p:nvPr/>
        </p:nvSpPr>
        <p:spPr bwMode="auto">
          <a:xfrm>
            <a:off x="1665288" y="1203325"/>
            <a:ext cx="7056437" cy="781050"/>
          </a:xfrm>
          <a:prstGeom prst="roundRect">
            <a:avLst/>
          </a:prstGeom>
          <a:solidFill>
            <a:srgbClr val="C00000"/>
          </a:solidFill>
          <a:ln/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3200" b="1" spc="600" dirty="0">
                <a:solidFill>
                  <a:schemeClr val="bg1"/>
                </a:solidFill>
                <a:latin typeface="微軟正黑體" pitchFamily="34" charset="-120"/>
                <a:ea typeface="微軟正黑體" pitchFamily="34" charset="-120"/>
              </a:rPr>
              <a:t>普通型高中</a:t>
            </a:r>
          </a:p>
        </p:txBody>
      </p:sp>
      <p:sp>
        <p:nvSpPr>
          <p:cNvPr id="9" name="圓角矩形圖說文字 8"/>
          <p:cNvSpPr/>
          <p:nvPr/>
        </p:nvSpPr>
        <p:spPr bwMode="auto">
          <a:xfrm>
            <a:off x="1704975" y="4684713"/>
            <a:ext cx="1558925" cy="1833562"/>
          </a:xfrm>
          <a:prstGeom prst="wedgeRoundRectCallout">
            <a:avLst>
              <a:gd name="adj1" fmla="val 19532"/>
              <a:gd name="adj2" fmla="val -71580"/>
              <a:gd name="adj3" fmla="val 16667"/>
            </a:avLst>
          </a:prstGeom>
          <a:ln w="28575"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延伸部定必修，</a:t>
            </a:r>
            <a:r>
              <a:rPr lang="zh-TW" altLang="en-US" sz="1600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訂有</a:t>
            </a:r>
            <a:r>
              <a:rPr lang="zh-TW" altLang="en-US" sz="1600" b="1" dirty="0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領域選修課綱</a:t>
            </a:r>
            <a:r>
              <a:rPr lang="zh-TW" altLang="zh-TW" sz="16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，</a:t>
            </a:r>
            <a:r>
              <a:rPr lang="zh-TW" altLang="en-US" sz="16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以</a:t>
            </a:r>
            <a:r>
              <a:rPr lang="zh-TW" altLang="zh-TW" sz="1600" b="1" dirty="0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銜接不同進路的大學教育</a:t>
            </a:r>
            <a:r>
              <a:rPr lang="zh-TW" altLang="en-US" sz="1600" b="1" dirty="0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的專業準備</a:t>
            </a:r>
          </a:p>
        </p:txBody>
      </p:sp>
      <p:sp>
        <p:nvSpPr>
          <p:cNvPr id="1036" name="圓角矩形圖說文字 10"/>
          <p:cNvSpPr>
            <a:spLocks noChangeArrowheads="1"/>
          </p:cNvSpPr>
          <p:nvPr/>
        </p:nvSpPr>
        <p:spPr bwMode="auto">
          <a:xfrm>
            <a:off x="268288" y="4648200"/>
            <a:ext cx="1349375" cy="1381125"/>
          </a:xfrm>
          <a:prstGeom prst="wedgeRoundRectCallout">
            <a:avLst>
              <a:gd name="adj1" fmla="val 56020"/>
              <a:gd name="adj2" fmla="val -78329"/>
              <a:gd name="adj3" fmla="val 16667"/>
            </a:avLst>
          </a:prstGeom>
          <a:ln w="28575">
            <a:headEnd/>
            <a:tailEnd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培養核心素養，</a:t>
            </a:r>
            <a:r>
              <a:rPr lang="zh-TW" altLang="en-US" sz="1600" b="1" dirty="0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鞏固基本學力</a:t>
            </a:r>
            <a:r>
              <a:rPr lang="zh-TW" altLang="en-US" sz="16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，落實全人教育</a:t>
            </a:r>
          </a:p>
        </p:txBody>
      </p:sp>
      <p:sp>
        <p:nvSpPr>
          <p:cNvPr id="1035" name="圓角矩形圖說文字 9"/>
          <p:cNvSpPr>
            <a:spLocks noChangeArrowheads="1"/>
          </p:cNvSpPr>
          <p:nvPr/>
        </p:nvSpPr>
        <p:spPr bwMode="auto">
          <a:xfrm>
            <a:off x="3324225" y="4587875"/>
            <a:ext cx="1492250" cy="1770063"/>
          </a:xfrm>
          <a:prstGeom prst="wedgeRoundRectCallout">
            <a:avLst>
              <a:gd name="adj1" fmla="val 21276"/>
              <a:gd name="adj2" fmla="val -68322"/>
              <a:gd name="adj3" fmla="val 16667"/>
            </a:avLst>
          </a:prstGeom>
          <a:ln w="28575"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zh-TW" sz="16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提供更個別化與差異化之適性課程，</a:t>
            </a:r>
            <a:r>
              <a:rPr lang="zh-TW" altLang="en-US" sz="16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如</a:t>
            </a:r>
            <a:r>
              <a:rPr lang="zh-TW" altLang="en-US" sz="1600" b="1" dirty="0">
                <a:solidFill>
                  <a:srgbClr val="FF0000"/>
                </a:solidFill>
                <a:latin typeface="微軟正黑體" pitchFamily="34" charset="-120"/>
                <a:ea typeface="微軟正黑體" pitchFamily="34" charset="-120"/>
              </a:rPr>
              <a:t>通識應用、職業試探</a:t>
            </a:r>
            <a:r>
              <a:rPr lang="zh-TW" altLang="en-US" sz="1600" dirty="0">
                <a:solidFill>
                  <a:prstClr val="black"/>
                </a:solidFill>
                <a:latin typeface="微軟正黑體" pitchFamily="34" charset="-120"/>
                <a:ea typeface="微軟正黑體" pitchFamily="34" charset="-120"/>
              </a:rPr>
              <a:t>、大學預修等</a:t>
            </a:r>
          </a:p>
        </p:txBody>
      </p:sp>
      <p:sp>
        <p:nvSpPr>
          <p:cNvPr id="21" name="圓角矩形 20"/>
          <p:cNvSpPr/>
          <p:nvPr/>
        </p:nvSpPr>
        <p:spPr bwMode="auto">
          <a:xfrm>
            <a:off x="3832225" y="3582988"/>
            <a:ext cx="995363" cy="698500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b="1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多元</a:t>
            </a:r>
            <a:endParaRPr lang="en-US" altLang="zh-TW" sz="1600" b="1" dirty="0">
              <a:solidFill>
                <a:schemeClr val="tx1"/>
              </a:solidFill>
              <a:latin typeface="微軟正黑體" pitchFamily="34" charset="-120"/>
              <a:ea typeface="微軟正黑體" pitchFamily="34" charset="-12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b="1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選修</a:t>
            </a:r>
            <a:endParaRPr lang="zh-TW" altLang="en-US" sz="1600" dirty="0">
              <a:solidFill>
                <a:schemeClr val="tx1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33" name="直線接點 32"/>
          <p:cNvCxnSpPr/>
          <p:nvPr/>
        </p:nvCxnSpPr>
        <p:spPr>
          <a:xfrm>
            <a:off x="2484438" y="3108325"/>
            <a:ext cx="0" cy="22542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直線接點 36"/>
          <p:cNvCxnSpPr/>
          <p:nvPr/>
        </p:nvCxnSpPr>
        <p:spPr>
          <a:xfrm>
            <a:off x="1892300" y="3340100"/>
            <a:ext cx="1181100" cy="0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線接點 37"/>
          <p:cNvCxnSpPr/>
          <p:nvPr/>
        </p:nvCxnSpPr>
        <p:spPr>
          <a:xfrm flipH="1">
            <a:off x="3073400" y="3327400"/>
            <a:ext cx="0" cy="24606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直線接點 38"/>
          <p:cNvCxnSpPr/>
          <p:nvPr/>
        </p:nvCxnSpPr>
        <p:spPr>
          <a:xfrm flipH="1">
            <a:off x="1892300" y="3325813"/>
            <a:ext cx="1588" cy="23812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直線接點 39"/>
          <p:cNvCxnSpPr/>
          <p:nvPr/>
        </p:nvCxnSpPr>
        <p:spPr>
          <a:xfrm flipV="1">
            <a:off x="5167313" y="3284538"/>
            <a:ext cx="3581400" cy="1587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直線接點 41"/>
          <p:cNvCxnSpPr/>
          <p:nvPr/>
        </p:nvCxnSpPr>
        <p:spPr>
          <a:xfrm>
            <a:off x="5173663" y="3295650"/>
            <a:ext cx="0" cy="211138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直線接點 43"/>
          <p:cNvCxnSpPr/>
          <p:nvPr/>
        </p:nvCxnSpPr>
        <p:spPr>
          <a:xfrm>
            <a:off x="6211888" y="3121025"/>
            <a:ext cx="0" cy="16351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914" name="群組 42"/>
          <p:cNvGrpSpPr>
            <a:grpSpLocks/>
          </p:cNvGrpSpPr>
          <p:nvPr/>
        </p:nvGrpSpPr>
        <p:grpSpPr bwMode="auto">
          <a:xfrm>
            <a:off x="3090863" y="3284538"/>
            <a:ext cx="2082800" cy="279400"/>
            <a:chOff x="3356344" y="3341884"/>
            <a:chExt cx="2082723" cy="310535"/>
          </a:xfrm>
        </p:grpSpPr>
        <p:cxnSp>
          <p:nvCxnSpPr>
            <p:cNvPr id="57" name="直線接點 56"/>
            <p:cNvCxnSpPr/>
            <p:nvPr/>
          </p:nvCxnSpPr>
          <p:spPr>
            <a:xfrm>
              <a:off x="3356344" y="3405403"/>
              <a:ext cx="855630" cy="234665"/>
            </a:xfrm>
            <a:prstGeom prst="line">
              <a:avLst/>
            </a:prstGeom>
            <a:ln w="25400">
              <a:solidFill>
                <a:srgbClr val="0070C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直線接點 65"/>
            <p:cNvCxnSpPr/>
            <p:nvPr/>
          </p:nvCxnSpPr>
          <p:spPr>
            <a:xfrm flipV="1">
              <a:off x="4956485" y="3341884"/>
              <a:ext cx="482582" cy="310535"/>
            </a:xfrm>
            <a:prstGeom prst="line">
              <a:avLst/>
            </a:prstGeom>
            <a:ln w="25400">
              <a:solidFill>
                <a:srgbClr val="0070C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圓角矩形 44"/>
          <p:cNvSpPr/>
          <p:nvPr/>
        </p:nvSpPr>
        <p:spPr bwMode="auto">
          <a:xfrm>
            <a:off x="7224713" y="3589338"/>
            <a:ext cx="747712" cy="700087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b="1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團體活動</a:t>
            </a:r>
          </a:p>
        </p:txBody>
      </p:sp>
      <p:sp>
        <p:nvSpPr>
          <p:cNvPr id="46" name="圓角矩形 45"/>
          <p:cNvSpPr/>
          <p:nvPr/>
        </p:nvSpPr>
        <p:spPr bwMode="auto">
          <a:xfrm>
            <a:off x="8026400" y="3589338"/>
            <a:ext cx="1017588" cy="700087"/>
          </a:xfrm>
          <a:prstGeom prst="roundRect">
            <a:avLst/>
          </a:prstGeom>
          <a:solidFill>
            <a:schemeClr val="accent4">
              <a:lumMod val="60000"/>
              <a:lumOff val="40000"/>
            </a:schemeClr>
          </a:solidFill>
          <a:ln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300" b="1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彈性學習</a:t>
            </a:r>
            <a:endParaRPr lang="en-US" altLang="zh-TW" sz="1300" b="1" dirty="0">
              <a:solidFill>
                <a:schemeClr val="tx1"/>
              </a:solidFill>
              <a:latin typeface="微軟正黑體" pitchFamily="34" charset="-120"/>
              <a:ea typeface="微軟正黑體" pitchFamily="34" charset="-120"/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TW" sz="1100" b="1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(</a:t>
            </a:r>
            <a:r>
              <a:rPr lang="zh-TW" altLang="en-US" sz="1100" b="1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含自主學習</a:t>
            </a:r>
            <a:r>
              <a:rPr lang="en-US" altLang="zh-TW" sz="1100" b="1" dirty="0">
                <a:solidFill>
                  <a:schemeClr val="tx1"/>
                </a:solidFill>
                <a:latin typeface="微軟正黑體" pitchFamily="34" charset="-120"/>
                <a:ea typeface="微軟正黑體" pitchFamily="34" charset="-120"/>
              </a:rPr>
              <a:t>)</a:t>
            </a:r>
            <a:endParaRPr lang="zh-TW" altLang="en-US" sz="1100" b="1" dirty="0">
              <a:solidFill>
                <a:schemeClr val="tx1"/>
              </a:solidFill>
              <a:latin typeface="微軟正黑體" pitchFamily="34" charset="-120"/>
              <a:ea typeface="微軟正黑體" pitchFamily="34" charset="-120"/>
            </a:endParaRPr>
          </a:p>
        </p:txBody>
      </p:sp>
      <p:cxnSp>
        <p:nvCxnSpPr>
          <p:cNvPr id="51" name="直線接點 50"/>
          <p:cNvCxnSpPr/>
          <p:nvPr/>
        </p:nvCxnSpPr>
        <p:spPr>
          <a:xfrm>
            <a:off x="8748713" y="3284538"/>
            <a:ext cx="0" cy="22542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直線接點 58"/>
          <p:cNvCxnSpPr/>
          <p:nvPr/>
        </p:nvCxnSpPr>
        <p:spPr>
          <a:xfrm>
            <a:off x="7740650" y="3284538"/>
            <a:ext cx="0" cy="22542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直線接點 59"/>
          <p:cNvCxnSpPr/>
          <p:nvPr/>
        </p:nvCxnSpPr>
        <p:spPr>
          <a:xfrm>
            <a:off x="6804025" y="3284538"/>
            <a:ext cx="0" cy="225425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直線接點 67"/>
          <p:cNvCxnSpPr/>
          <p:nvPr/>
        </p:nvCxnSpPr>
        <p:spPr>
          <a:xfrm flipH="1">
            <a:off x="3024188" y="1973263"/>
            <a:ext cx="2174875" cy="312737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直線接點 69"/>
          <p:cNvCxnSpPr>
            <a:stCxn id="18" idx="2"/>
          </p:cNvCxnSpPr>
          <p:nvPr/>
        </p:nvCxnSpPr>
        <p:spPr>
          <a:xfrm>
            <a:off x="5192713" y="1984375"/>
            <a:ext cx="2090737" cy="328613"/>
          </a:xfrm>
          <a:prstGeom prst="line">
            <a:avLst/>
          </a:prstGeom>
          <a:ln w="254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圓角矩形 2"/>
          <p:cNvSpPr/>
          <p:nvPr/>
        </p:nvSpPr>
        <p:spPr>
          <a:xfrm>
            <a:off x="7164388" y="3244850"/>
            <a:ext cx="1947862" cy="1336675"/>
          </a:xfrm>
          <a:prstGeom prst="roundRect">
            <a:avLst/>
          </a:prstGeom>
          <a:noFill/>
          <a:ln w="4762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4" name="向上箭號 3"/>
          <p:cNvSpPr/>
          <p:nvPr/>
        </p:nvSpPr>
        <p:spPr>
          <a:xfrm>
            <a:off x="8126413" y="4648200"/>
            <a:ext cx="217487" cy="293688"/>
          </a:xfrm>
          <a:prstGeom prst="up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>
              <a:solidFill>
                <a:prstClr val="white"/>
              </a:solidFill>
            </a:endParaRPr>
          </a:p>
        </p:txBody>
      </p:sp>
      <p:sp>
        <p:nvSpPr>
          <p:cNvPr id="37924" name="文字方塊 4"/>
          <p:cNvSpPr txBox="1">
            <a:spLocks noChangeArrowheads="1"/>
          </p:cNvSpPr>
          <p:nvPr/>
        </p:nvSpPr>
        <p:spPr bwMode="auto">
          <a:xfrm>
            <a:off x="7578725" y="4953000"/>
            <a:ext cx="1465263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60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綜合性學習、其他學習體驗</a:t>
            </a:r>
            <a:r>
              <a:rPr lang="en-US" altLang="zh-TW" sz="160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..</a:t>
            </a:r>
            <a:endParaRPr lang="zh-TW" altLang="en-US" sz="1600">
              <a:solidFill>
                <a:srgbClr val="0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7925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xfrm>
            <a:off x="7073900" y="649922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D80AB287-C099-49D1-A71F-4CD1A5A15937}" type="slidenum">
              <a:rPr lang="zh-TW" altLang="en-US" sz="1200" smtClean="0">
                <a:solidFill>
                  <a:srgbClr val="898989"/>
                </a:solidFill>
                <a:latin typeface="Arial" panose="020B0604020202020204" pitchFamily="34" charset="0"/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5</a:t>
            </a:fld>
            <a:endParaRPr lang="zh-TW" altLang="en-US" sz="1200" dirty="0">
              <a:solidFill>
                <a:srgbClr val="898989"/>
              </a:solidFill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內容版面配置區 6" descr="太極.jpg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24" t="7426" r="124" b="12996"/>
          <a:stretch>
            <a:fillRect/>
          </a:stretch>
        </p:blipFill>
        <p:spPr>
          <a:xfrm>
            <a:off x="4739481" y="2164298"/>
            <a:ext cx="4189412" cy="3335337"/>
          </a:xfrm>
        </p:spPr>
      </p:pic>
      <p:sp>
        <p:nvSpPr>
          <p:cNvPr id="165891" name="標題 1"/>
          <p:cNvSpPr>
            <a:spLocks noGrp="1"/>
          </p:cNvSpPr>
          <p:nvPr>
            <p:ph type="title"/>
          </p:nvPr>
        </p:nvSpPr>
        <p:spPr>
          <a:xfrm>
            <a:off x="142875" y="214313"/>
            <a:ext cx="9196388" cy="857250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十二年國教課綱強調學校本位課程發展</a:t>
            </a:r>
          </a:p>
        </p:txBody>
      </p:sp>
      <p:sp>
        <p:nvSpPr>
          <p:cNvPr id="39940" name="矩形 4"/>
          <p:cNvSpPr>
            <a:spLocks noChangeArrowheads="1"/>
          </p:cNvSpPr>
          <p:nvPr/>
        </p:nvSpPr>
        <p:spPr bwMode="auto">
          <a:xfrm>
            <a:off x="4524374" y="5128478"/>
            <a:ext cx="47545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400" dirty="0">
                <a:solidFill>
                  <a:srgbClr val="000000"/>
                </a:solidFill>
              </a:rPr>
              <a:t>                                     </a:t>
            </a:r>
            <a:r>
              <a:rPr lang="zh-TW" altLang="en-US" sz="800" dirty="0">
                <a:solidFill>
                  <a:srgbClr val="0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圖片來源：</a:t>
            </a:r>
            <a:r>
              <a:rPr lang="en-US" altLang="zh-TW" sz="800" dirty="0">
                <a:solidFill>
                  <a:srgbClr val="000000"/>
                </a:solidFill>
              </a:rPr>
              <a:t>http://www.nipic.com/show/4/79/5437409k2418f424.html</a:t>
            </a:r>
            <a:endParaRPr lang="zh-TW" altLang="en-US" sz="800" dirty="0">
              <a:solidFill>
                <a:srgbClr val="000000"/>
              </a:solidFill>
            </a:endParaRPr>
          </a:p>
        </p:txBody>
      </p:sp>
      <p:sp>
        <p:nvSpPr>
          <p:cNvPr id="38917" name="文字方塊 7"/>
          <p:cNvSpPr txBox="1">
            <a:spLocks noChangeArrowheads="1"/>
          </p:cNvSpPr>
          <p:nvPr/>
        </p:nvSpPr>
        <p:spPr bwMode="auto">
          <a:xfrm>
            <a:off x="3405188" y="4194174"/>
            <a:ext cx="1071563" cy="107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zh-TW" altLang="en-US" sz="3200" b="1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部定</a:t>
            </a:r>
            <a:endParaRPr lang="en-US" altLang="zh-TW" sz="32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zh-TW" altLang="en-US" sz="3200" b="1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課程</a:t>
            </a:r>
          </a:p>
        </p:txBody>
      </p:sp>
      <p:sp>
        <p:nvSpPr>
          <p:cNvPr id="38918" name="文字方塊 8"/>
          <p:cNvSpPr txBox="1">
            <a:spLocks noChangeArrowheads="1"/>
          </p:cNvSpPr>
          <p:nvPr/>
        </p:nvSpPr>
        <p:spPr bwMode="auto">
          <a:xfrm>
            <a:off x="3405187" y="2322949"/>
            <a:ext cx="1071563" cy="1077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zh-TW" altLang="en-US" sz="3200" b="1" dirty="0">
                <a:solidFill>
                  <a:schemeClr val="accent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校訂課程</a:t>
            </a:r>
          </a:p>
        </p:txBody>
      </p:sp>
      <p:sp>
        <p:nvSpPr>
          <p:cNvPr id="39943" name="文字方塊 9"/>
          <p:cNvSpPr txBox="1">
            <a:spLocks noChangeArrowheads="1"/>
          </p:cNvSpPr>
          <p:nvPr/>
        </p:nvSpPr>
        <p:spPr bwMode="auto">
          <a:xfrm>
            <a:off x="2768600" y="5425735"/>
            <a:ext cx="3198812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zh-TW" sz="1800" dirty="0">
                <a:solidFill>
                  <a:srgbClr val="0D0D0D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由國家統一規劃，以養成學生的基本學力，並奠定適性發展的基礎。</a:t>
            </a:r>
            <a:endParaRPr lang="zh-TW" altLang="en-US" sz="1800" dirty="0">
              <a:solidFill>
                <a:srgbClr val="0D0D0D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9944" name="文字方塊 10"/>
          <p:cNvSpPr txBox="1">
            <a:spLocks noChangeArrowheads="1"/>
          </p:cNvSpPr>
          <p:nvPr/>
        </p:nvSpPr>
        <p:spPr bwMode="auto">
          <a:xfrm>
            <a:off x="2768600" y="1496557"/>
            <a:ext cx="3071813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zh-TW" sz="1800" dirty="0">
                <a:solidFill>
                  <a:srgbClr val="0D0D0D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由學校安排，以形塑學校教育願景及強化學生適性發展</a:t>
            </a:r>
            <a:r>
              <a:rPr lang="zh-TW" altLang="en-US" sz="1800" dirty="0">
                <a:solidFill>
                  <a:srgbClr val="0D0D0D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。</a:t>
            </a:r>
          </a:p>
        </p:txBody>
      </p:sp>
      <p:pic>
        <p:nvPicPr>
          <p:cNvPr id="39945" name="Shape 74"/>
          <p:cNvPicPr preferRelativeResize="0"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400" y="2092066"/>
            <a:ext cx="2108200" cy="347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文字方塊 15"/>
          <p:cNvSpPr txBox="1"/>
          <p:nvPr/>
        </p:nvSpPr>
        <p:spPr>
          <a:xfrm>
            <a:off x="1733550" y="5571866"/>
            <a:ext cx="1035050" cy="261938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05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取自吳月鈴</a:t>
            </a:r>
          </a:p>
        </p:txBody>
      </p:sp>
      <p:sp>
        <p:nvSpPr>
          <p:cNvPr id="3" name="左-右雙向箭號 2"/>
          <p:cNvSpPr/>
          <p:nvPr/>
        </p:nvSpPr>
        <p:spPr>
          <a:xfrm>
            <a:off x="2978146" y="3559513"/>
            <a:ext cx="1912353" cy="481013"/>
          </a:xfrm>
          <a:prstGeom prst="leftRightArrow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/>
          </a:p>
        </p:txBody>
      </p:sp>
      <p:sp>
        <p:nvSpPr>
          <p:cNvPr id="12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xfrm>
            <a:off x="7073900" y="649922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None/>
            </a:pPr>
            <a:r>
              <a:rPr lang="en-US" altLang="zh-TW" sz="1200" dirty="0">
                <a:solidFill>
                  <a:srgbClr val="898989"/>
                </a:solidFill>
                <a:latin typeface="Arial" panose="020B0604020202020204" pitchFamily="34" charset="0"/>
              </a:rPr>
              <a:t>16</a:t>
            </a:r>
            <a:endParaRPr lang="zh-TW" altLang="en-US" sz="1200" dirty="0">
              <a:solidFill>
                <a:srgbClr val="898989"/>
              </a:solidFill>
              <a:latin typeface="Arial" panose="020B0604020202020204" pitchFamily="34" charset="0"/>
            </a:endParaRPr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362075" y="2792413"/>
            <a:ext cx="7886700" cy="1323975"/>
          </a:xfrm>
        </p:spPr>
        <p:txBody>
          <a:bodyPr rtlCol="0">
            <a:noAutofit/>
          </a:bodyPr>
          <a:lstStyle/>
          <a:p>
            <a:pPr algn="ctr" eaLnBrk="1" fontAlgn="auto" hangingPunct="1">
              <a:lnSpc>
                <a:spcPct val="150000"/>
              </a:lnSpc>
              <a:spcAft>
                <a:spcPts val="0"/>
              </a:spcAft>
              <a:defRPr/>
            </a:pPr>
            <a:r>
              <a:rPr lang="zh-TW" altLang="en-US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社會領域課程綱要</a:t>
            </a:r>
            <a:br>
              <a:rPr lang="zh-TW" altLang="en-US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zh-TW" altLang="en-US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重要理念與內涵</a:t>
            </a:r>
          </a:p>
        </p:txBody>
      </p:sp>
      <p:sp>
        <p:nvSpPr>
          <p:cNvPr id="40963" name="投影片編號版面配置區 2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CFC1380A-962D-44FA-A2E1-48087F530C01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7</a:t>
            </a:fld>
            <a:endParaRPr lang="zh-TW" altLang="en-US" sz="1200" dirty="0">
              <a:solidFill>
                <a:srgbClr val="898989"/>
              </a:solidFill>
            </a:endParaRPr>
          </a:p>
        </p:txBody>
      </p:sp>
      <p:sp>
        <p:nvSpPr>
          <p:cNvPr id="15" name="Rectangle 37"/>
          <p:cNvSpPr/>
          <p:nvPr/>
        </p:nvSpPr>
        <p:spPr>
          <a:xfrm>
            <a:off x="8675688" y="3216275"/>
            <a:ext cx="477837" cy="476250"/>
          </a:xfrm>
          <a:prstGeom prst="rect">
            <a:avLst/>
          </a:prstGeom>
          <a:solidFill>
            <a:srgbClr val="7000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zh-TW" dirty="0">
                <a:solidFill>
                  <a:srgbClr val="70001D"/>
                </a:solidFill>
                <a:latin typeface="Simple-Line-Icons" pitchFamily="2" charset="2"/>
              </a:rPr>
              <a:t></a:t>
            </a:r>
            <a:endParaRPr lang="en-US" altLang="zh-TW" dirty="0">
              <a:solidFill>
                <a:srgbClr val="70001D"/>
              </a:solidFill>
            </a:endParaRPr>
          </a:p>
        </p:txBody>
      </p:sp>
      <p:pic>
        <p:nvPicPr>
          <p:cNvPr id="40965" name="圖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288" y="0"/>
            <a:ext cx="1295400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文字方塊 2"/>
          <p:cNvSpPr txBox="1"/>
          <p:nvPr/>
        </p:nvSpPr>
        <p:spPr>
          <a:xfrm>
            <a:off x="2233613" y="1870075"/>
            <a:ext cx="4084637" cy="831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zh-TW" altLang="en-US" sz="4800" b="1" dirty="0">
                <a:solidFill>
                  <a:schemeClr val="bg2">
                    <a:lumMod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第二部分</a:t>
            </a:r>
          </a:p>
        </p:txBody>
      </p:sp>
      <p:pic>
        <p:nvPicPr>
          <p:cNvPr id="7" name="圖片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9319" y="6485835"/>
            <a:ext cx="1220238" cy="23395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9C69C6E-5B5B-42A0-A246-D25A55335186}" type="slidenum">
              <a:rPr lang="zh-TW" altLang="en-US" smtClean="0"/>
              <a:pPr>
                <a:defRPr/>
              </a:pPr>
              <a:t>18</a:t>
            </a:fld>
            <a:endParaRPr lang="zh-TW" altLang="en-US"/>
          </a:p>
        </p:txBody>
      </p:sp>
      <p:graphicFrame>
        <p:nvGraphicFramePr>
          <p:cNvPr id="4" name="資料庫圖表 3"/>
          <p:cNvGraphicFramePr/>
          <p:nvPr>
            <p:extLst>
              <p:ext uri="{D42A27DB-BD31-4B8C-83A1-F6EECF244321}">
                <p14:modId xmlns:p14="http://schemas.microsoft.com/office/powerpoint/2010/main" val="3245805821"/>
              </p:ext>
            </p:extLst>
          </p:nvPr>
        </p:nvGraphicFramePr>
        <p:xfrm>
          <a:off x="0" y="980728"/>
          <a:ext cx="9144000" cy="5184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左中括弧 6"/>
          <p:cNvSpPr/>
          <p:nvPr/>
        </p:nvSpPr>
        <p:spPr>
          <a:xfrm rot="5400000">
            <a:off x="1943708" y="584684"/>
            <a:ext cx="216024" cy="3312368"/>
          </a:xfrm>
          <a:prstGeom prst="leftBracket">
            <a:avLst/>
          </a:prstGeom>
          <a:ln w="44450">
            <a:solidFill>
              <a:srgbClr val="FF66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0" name="文字方塊 9"/>
          <p:cNvSpPr txBox="1"/>
          <p:nvPr/>
        </p:nvSpPr>
        <p:spPr>
          <a:xfrm>
            <a:off x="1043608" y="1268760"/>
            <a:ext cx="2160240" cy="70788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zh-TW" altLang="en-US" sz="2000" b="1" dirty="0">
                <a:latin typeface="微軟正黑體" pitchFamily="34" charset="-120"/>
                <a:ea typeface="微軟正黑體" pitchFamily="34" charset="-120"/>
              </a:rPr>
              <a:t>普、技、綜</a:t>
            </a:r>
            <a:endParaRPr lang="en-US" altLang="zh-TW" sz="2000" b="1" dirty="0">
              <a:latin typeface="微軟正黑體" pitchFamily="34" charset="-120"/>
              <a:ea typeface="微軟正黑體" pitchFamily="34" charset="-120"/>
            </a:endParaRPr>
          </a:p>
          <a:p>
            <a:pPr algn="ctr"/>
            <a:r>
              <a:rPr lang="zh-TW" altLang="en-US" sz="2000" b="1" dirty="0">
                <a:latin typeface="微軟正黑體" pitchFamily="34" charset="-120"/>
                <a:ea typeface="微軟正黑體" pitchFamily="34" charset="-120"/>
              </a:rPr>
              <a:t>三份課綱共通</a:t>
            </a:r>
          </a:p>
        </p:txBody>
      </p:sp>
      <p:sp>
        <p:nvSpPr>
          <p:cNvPr id="12" name="左大括弧 11"/>
          <p:cNvSpPr/>
          <p:nvPr/>
        </p:nvSpPr>
        <p:spPr>
          <a:xfrm rot="5400000">
            <a:off x="5292080" y="3573016"/>
            <a:ext cx="288032" cy="1152128"/>
          </a:xfrm>
          <a:prstGeom prst="leftBrac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4" name="文字方塊 13"/>
          <p:cNvSpPr txBox="1"/>
          <p:nvPr/>
        </p:nvSpPr>
        <p:spPr>
          <a:xfrm>
            <a:off x="4211960" y="4293096"/>
            <a:ext cx="1152128" cy="369332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r>
              <a:rPr lang="zh-TW" altLang="en-US" dirty="0">
                <a:latin typeface="微軟正黑體" pitchFamily="34" charset="-120"/>
                <a:ea typeface="微軟正黑體" pitchFamily="34" charset="-120"/>
              </a:rPr>
              <a:t>學習表現</a:t>
            </a:r>
          </a:p>
        </p:txBody>
      </p:sp>
      <p:sp>
        <p:nvSpPr>
          <p:cNvPr id="15" name="文字方塊 14"/>
          <p:cNvSpPr txBox="1"/>
          <p:nvPr/>
        </p:nvSpPr>
        <p:spPr>
          <a:xfrm>
            <a:off x="5580112" y="4293096"/>
            <a:ext cx="1152128" cy="369332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r>
              <a:rPr lang="zh-TW" altLang="en-US" dirty="0">
                <a:latin typeface="微軟正黑體" pitchFamily="34" charset="-120"/>
                <a:ea typeface="微軟正黑體" pitchFamily="34" charset="-120"/>
              </a:rPr>
              <a:t>學習內容</a:t>
            </a:r>
          </a:p>
        </p:txBody>
      </p:sp>
      <p:sp>
        <p:nvSpPr>
          <p:cNvPr id="16" name="文字方塊 15"/>
          <p:cNvSpPr txBox="1"/>
          <p:nvPr/>
        </p:nvSpPr>
        <p:spPr>
          <a:xfrm>
            <a:off x="3635896" y="4797152"/>
            <a:ext cx="2304256" cy="92333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zh-TW" altLang="en-US" dirty="0">
                <a:latin typeface="微軟正黑體" pitchFamily="34" charset="-120"/>
                <a:ea typeface="微軟正黑體" pitchFamily="34" charset="-120"/>
              </a:rPr>
              <a:t>社會領域共同架構</a:t>
            </a:r>
            <a:endParaRPr lang="en-US" altLang="zh-TW" dirty="0">
              <a:latin typeface="微軟正黑體" pitchFamily="34" charset="-120"/>
              <a:ea typeface="微軟正黑體" pitchFamily="34" charset="-120"/>
            </a:endParaRPr>
          </a:p>
          <a:p>
            <a:pPr algn="ctr"/>
            <a:r>
              <a:rPr lang="zh-TW" altLang="en-US" dirty="0">
                <a:latin typeface="微軟正黑體" pitchFamily="34" charset="-120"/>
                <a:ea typeface="微軟正黑體" pitchFamily="34" charset="-120"/>
              </a:rPr>
              <a:t>三類型高中學習表現相通</a:t>
            </a:r>
          </a:p>
        </p:txBody>
      </p:sp>
      <p:cxnSp>
        <p:nvCxnSpPr>
          <p:cNvPr id="18" name="直線接點 17"/>
          <p:cNvCxnSpPr/>
          <p:nvPr/>
        </p:nvCxnSpPr>
        <p:spPr>
          <a:xfrm>
            <a:off x="4788024" y="4653136"/>
            <a:ext cx="0" cy="134724"/>
          </a:xfrm>
          <a:prstGeom prst="line">
            <a:avLst/>
          </a:prstGeom>
          <a:ln w="412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標題 55"/>
          <p:cNvSpPr txBox="1">
            <a:spLocks/>
          </p:cNvSpPr>
          <p:nvPr/>
        </p:nvSpPr>
        <p:spPr>
          <a:xfrm>
            <a:off x="0" y="-3895"/>
            <a:ext cx="9144000" cy="720080"/>
          </a:xfrm>
          <a:prstGeom prst="rect">
            <a:avLst/>
          </a:prstGeom>
          <a:solidFill>
            <a:srgbClr val="ED7D31"/>
          </a:solidFill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zh-TW" altLang="en-US" sz="3200" b="1" dirty="0">
                <a:solidFill>
                  <a:prstClr val="white"/>
                </a:solidFill>
                <a:latin typeface="微軟正黑體" pitchFamily="34" charset="-120"/>
                <a:ea typeface="微軟正黑體" pitchFamily="34" charset="-120"/>
              </a:rPr>
              <a:t>社會領綱架構</a:t>
            </a: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流程圖: 替代程序 1"/>
          <p:cNvSpPr/>
          <p:nvPr/>
        </p:nvSpPr>
        <p:spPr>
          <a:xfrm>
            <a:off x="812801" y="2033046"/>
            <a:ext cx="7555344" cy="3245536"/>
          </a:xfrm>
          <a:prstGeom prst="flowChartAlternateProcess">
            <a:avLst/>
          </a:prstGeom>
          <a:solidFill>
            <a:schemeClr val="bg1"/>
          </a:solidFill>
          <a:ln w="76200">
            <a:solidFill>
              <a:srgbClr val="FF9966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449263" indent="-274638">
              <a:lnSpc>
                <a:spcPts val="3500"/>
              </a:lnSpc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zh-TW" altLang="en-US" sz="28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社會領域的主要教育功能為傳遞文化與制度，培養探究、參與、實踐、反思及創新的態度與能力；其理念在於涵育新世代的</a:t>
            </a:r>
            <a:r>
              <a:rPr lang="zh-TW" altLang="en-US" sz="2800" b="1" u="sng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公民素養</a:t>
            </a:r>
            <a:r>
              <a:rPr lang="zh-TW" altLang="en-US" sz="2800" dirty="0">
                <a:solidFill>
                  <a:prstClr val="black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，以培育公民面對各種挑戰時，能做出迎向「共好」的抉擇，並具社會實踐力。</a:t>
            </a:r>
            <a:endParaRPr lang="en-US" altLang="zh-TW" sz="2800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50998" y="501939"/>
            <a:ext cx="7886700" cy="1325563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社會領域基本理念</a:t>
            </a:r>
          </a:p>
        </p:txBody>
      </p:sp>
      <p:sp>
        <p:nvSpPr>
          <p:cNvPr id="41987" name="投影片編號版面配置區 3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9DE53BCA-286F-43ED-997C-B795871578E9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9</a:t>
            </a:fld>
            <a:endParaRPr lang="zh-TW" altLang="en-US" sz="1200" dirty="0">
              <a:solidFill>
                <a:srgbClr val="898989"/>
              </a:solidFill>
            </a:endParaRPr>
          </a:p>
        </p:txBody>
      </p:sp>
      <p:sp>
        <p:nvSpPr>
          <p:cNvPr id="15" name="矩形 14"/>
          <p:cNvSpPr/>
          <p:nvPr/>
        </p:nvSpPr>
        <p:spPr>
          <a:xfrm>
            <a:off x="1993813" y="1710125"/>
            <a:ext cx="5558689" cy="82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900"/>
              </a:spcBef>
            </a:pPr>
            <a:endParaRPr lang="en-US" altLang="zh-TW" sz="2000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spcBef>
                <a:spcPts val="900"/>
              </a:spcBef>
            </a:pPr>
            <a:endParaRPr lang="en-US" altLang="zh-TW" sz="2000" dirty="0">
              <a:solidFill>
                <a:prstClr val="black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6118444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圓角矩形 41"/>
          <p:cNvSpPr/>
          <p:nvPr/>
        </p:nvSpPr>
        <p:spPr>
          <a:xfrm>
            <a:off x="819150" y="2508250"/>
            <a:ext cx="7823200" cy="3786188"/>
          </a:xfrm>
          <a:prstGeom prst="roundRect">
            <a:avLst/>
          </a:prstGeom>
          <a:solidFill>
            <a:schemeClr val="bg1"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 dirty="0"/>
          </a:p>
        </p:txBody>
      </p:sp>
      <p:sp>
        <p:nvSpPr>
          <p:cNvPr id="4" name="標題 1"/>
          <p:cNvSpPr txBox="1">
            <a:spLocks/>
          </p:cNvSpPr>
          <p:nvPr/>
        </p:nvSpPr>
        <p:spPr>
          <a:xfrm>
            <a:off x="1747838" y="490538"/>
            <a:ext cx="5708650" cy="635000"/>
          </a:xfrm>
          <a:prstGeom prst="rect">
            <a:avLst/>
          </a:prstGeom>
        </p:spPr>
        <p:txBody>
          <a:bodyPr anchor="ctr"/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zh-TW" altLang="en-US" sz="4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簡報綱要</a:t>
            </a:r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-128588" y="3922713"/>
            <a:ext cx="9461501" cy="9540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indent="1825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800" b="1" kern="0" dirty="0">
                <a:solidFill>
                  <a:schemeClr val="accent2">
                    <a:lumMod val="7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第二部分</a:t>
            </a:r>
            <a:endParaRPr lang="en-US" altLang="zh-TW" sz="2800" b="1" kern="0" dirty="0">
              <a:solidFill>
                <a:schemeClr val="accent2">
                  <a:lumMod val="7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sym typeface="Wingdings" panose="05000000000000000000" pitchFamily="2" charset="2"/>
            </a:endParaRPr>
          </a:p>
          <a:p>
            <a:pPr indent="1825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800" b="1" kern="0" dirty="0">
                <a:solidFill>
                  <a:schemeClr val="accent2">
                    <a:lumMod val="7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社會領域課程綱要重要理念與內涵</a:t>
            </a:r>
            <a:endParaRPr lang="en-US" altLang="zh-CN" sz="2800" b="1" kern="0" dirty="0">
              <a:solidFill>
                <a:schemeClr val="accent2">
                  <a:lumMod val="7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7" name="Text Box 17"/>
          <p:cNvSpPr txBox="1">
            <a:spLocks noChangeArrowheads="1"/>
          </p:cNvSpPr>
          <p:nvPr/>
        </p:nvSpPr>
        <p:spPr bwMode="auto">
          <a:xfrm>
            <a:off x="1403350" y="5238750"/>
            <a:ext cx="4959350" cy="5238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altLang="zh-CN" sz="2800" kern="0" dirty="0">
              <a:solidFill>
                <a:srgbClr val="C0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41" name="矩形 40"/>
          <p:cNvSpPr/>
          <p:nvPr/>
        </p:nvSpPr>
        <p:spPr>
          <a:xfrm>
            <a:off x="889000" y="5229225"/>
            <a:ext cx="7639050" cy="954088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800" b="1" kern="0" dirty="0">
                <a:solidFill>
                  <a:schemeClr val="accent4">
                    <a:lumMod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第三部分</a:t>
            </a:r>
            <a:endParaRPr lang="en-US" altLang="zh-TW" sz="2800" b="1" kern="0" dirty="0">
              <a:solidFill>
                <a:schemeClr val="accent4">
                  <a:lumMod val="50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800" b="1" kern="0" dirty="0">
                <a:solidFill>
                  <a:schemeClr val="accent4">
                    <a:lumMod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國教院研發之課綱實施支持資源</a:t>
            </a:r>
            <a:endParaRPr lang="en-US" altLang="zh-CN" sz="2800" b="1" kern="0" dirty="0">
              <a:solidFill>
                <a:schemeClr val="accent4">
                  <a:lumMod val="50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7" name="Text Box 9"/>
          <p:cNvSpPr txBox="1">
            <a:spLocks noChangeArrowheads="1"/>
          </p:cNvSpPr>
          <p:nvPr/>
        </p:nvSpPr>
        <p:spPr bwMode="auto">
          <a:xfrm>
            <a:off x="84138" y="2616200"/>
            <a:ext cx="9045575" cy="9540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indent="1825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800" b="1" kern="0" dirty="0">
                <a:solidFill>
                  <a:schemeClr val="accent2">
                    <a:lumMod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第一部分</a:t>
            </a:r>
            <a:endParaRPr lang="en-US" altLang="zh-TW" sz="2800" b="1" kern="0" dirty="0">
              <a:solidFill>
                <a:schemeClr val="accent2">
                  <a:lumMod val="50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indent="182563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800" b="1" kern="0" dirty="0">
                <a:solidFill>
                  <a:schemeClr val="accent2">
                    <a:lumMod val="50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十二年國教課程綱要總綱重要理念與內涵</a:t>
            </a:r>
            <a:endParaRPr lang="en-US" altLang="zh-CN" sz="2800" b="1" kern="0" dirty="0">
              <a:solidFill>
                <a:schemeClr val="accent2">
                  <a:lumMod val="50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8440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83350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BEA1A886-97FB-4C30-BC89-1E1363BF1FF7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</a:t>
            </a:fld>
            <a:endParaRPr lang="zh-TW" altLang="en-US" sz="1200">
              <a:solidFill>
                <a:srgbClr val="898989"/>
              </a:solidFill>
            </a:endParaRPr>
          </a:p>
        </p:txBody>
      </p:sp>
      <p:pic>
        <p:nvPicPr>
          <p:cNvPr id="18441" name="圖片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6538" y="1447800"/>
            <a:ext cx="1109662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流程圖: 替代程序 1"/>
          <p:cNvSpPr/>
          <p:nvPr/>
        </p:nvSpPr>
        <p:spPr>
          <a:xfrm>
            <a:off x="1288473" y="2699227"/>
            <a:ext cx="7229363" cy="3505200"/>
          </a:xfrm>
          <a:prstGeom prst="flowChartAlternateProcess">
            <a:avLst/>
          </a:prstGeom>
          <a:solidFill>
            <a:schemeClr val="bg1"/>
          </a:solidFill>
          <a:ln w="76200">
            <a:solidFill>
              <a:srgbClr val="FF9966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74625" indent="-174625">
              <a:lnSpc>
                <a:spcPts val="3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TW" altLang="en-US" sz="20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發展民主社會所需之溝通互動、團隊合作、問題解決及社會參與等公民實踐的素養。</a:t>
            </a:r>
            <a:endParaRPr lang="en-US" altLang="zh-TW" sz="20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174625" indent="-174625">
              <a:lnSpc>
                <a:spcPts val="3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TW" altLang="en-US" sz="20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增進對歷史、地理、公民與社會學科及領域知識的探究與理解能力。</a:t>
            </a:r>
            <a:endParaRPr lang="en-US" altLang="zh-TW" sz="20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174625" indent="-174625">
              <a:lnSpc>
                <a:spcPts val="3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TW" altLang="en-US" sz="20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發展跨學科的分析、思辨、統整、評估與批判的能力。</a:t>
            </a:r>
            <a:endParaRPr lang="en-US" altLang="zh-TW" sz="20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174625" indent="-174625">
              <a:lnSpc>
                <a:spcPts val="3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TW" altLang="en-US" sz="20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培養對於族群、社會、地方、國家和世界等多重公民身分的敏察覺知，並涵育具有肯認多元、重視人權和關懷全球永續的責任意識。</a:t>
            </a:r>
            <a:endParaRPr lang="en-US" altLang="zh-TW" sz="20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6" name="流程圖: 替代程序 1"/>
          <p:cNvSpPr/>
          <p:nvPr/>
        </p:nvSpPr>
        <p:spPr>
          <a:xfrm>
            <a:off x="1320097" y="1441555"/>
            <a:ext cx="7138104" cy="1073648"/>
          </a:xfrm>
          <a:prstGeom prst="flowChartAlternateProcess">
            <a:avLst/>
          </a:prstGeom>
          <a:solidFill>
            <a:schemeClr val="bg1"/>
          </a:solidFill>
          <a:ln w="76200">
            <a:solidFill>
              <a:srgbClr val="FF9966"/>
            </a:solidFill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marL="174625" indent="-174625">
              <a:lnSpc>
                <a:spcPts val="3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TW" altLang="en-US" sz="2000" dirty="0">
                <a:solidFill>
                  <a:schemeClr val="tx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社會領域課程旨在培育學生面對未來、開展不同生涯所需的公民素養。</a:t>
            </a:r>
            <a:endParaRPr lang="en-US" altLang="zh-TW" sz="2000" dirty="0">
              <a:solidFill>
                <a:schemeClr val="tx1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8650" y="184150"/>
            <a:ext cx="7886700" cy="1325563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社會領域課程目標</a:t>
            </a:r>
          </a:p>
        </p:txBody>
      </p:sp>
      <p:sp>
        <p:nvSpPr>
          <p:cNvPr id="41987" name="投影片編號版面配置區 3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9DE53BCA-286F-43ED-997C-B795871578E9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0</a:t>
            </a:fld>
            <a:endParaRPr lang="zh-TW" altLang="en-US" sz="1200" dirty="0">
              <a:solidFill>
                <a:srgbClr val="898989"/>
              </a:solidFill>
            </a:endParaRPr>
          </a:p>
        </p:txBody>
      </p:sp>
      <p:sp>
        <p:nvSpPr>
          <p:cNvPr id="11" name="圓角矩形 4"/>
          <p:cNvSpPr/>
          <p:nvPr/>
        </p:nvSpPr>
        <p:spPr>
          <a:xfrm>
            <a:off x="434684" y="1352422"/>
            <a:ext cx="833509" cy="130440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7160" tIns="68580" rIns="137160" bIns="68580" numCol="1" spcCol="1270" anchor="ctr" anchorCtr="0">
            <a:noAutofit/>
          </a:bodyPr>
          <a:lstStyle/>
          <a:p>
            <a:pPr lvl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TW" altLang="en-US" sz="3600" b="1" kern="12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總述</a:t>
            </a:r>
          </a:p>
        </p:txBody>
      </p:sp>
      <p:sp>
        <p:nvSpPr>
          <p:cNvPr id="15" name="矩形 14"/>
          <p:cNvSpPr/>
          <p:nvPr/>
        </p:nvSpPr>
        <p:spPr>
          <a:xfrm>
            <a:off x="1993813" y="1710125"/>
            <a:ext cx="5558689" cy="8233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900"/>
              </a:spcBef>
            </a:pPr>
            <a:endParaRPr lang="en-US" altLang="zh-TW" sz="20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>
              <a:spcBef>
                <a:spcPts val="900"/>
              </a:spcBef>
            </a:pPr>
            <a:endParaRPr lang="en-US" altLang="zh-TW" sz="20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17" name="圓角矩形 4"/>
          <p:cNvSpPr/>
          <p:nvPr/>
        </p:nvSpPr>
        <p:spPr>
          <a:xfrm>
            <a:off x="428661" y="3766474"/>
            <a:ext cx="833509" cy="130440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37160" tIns="68580" rIns="137160" bIns="68580" numCol="1" spcCol="1270" anchor="ctr" anchorCtr="0">
            <a:noAutofit/>
          </a:bodyPr>
          <a:lstStyle/>
          <a:p>
            <a:pPr lvl="0" algn="ctr" defTabSz="1600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zh-TW" altLang="en-US" sz="3600" b="1" kern="1200" dirty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目標</a:t>
            </a:r>
          </a:p>
        </p:txBody>
      </p:sp>
    </p:spTree>
    <p:extLst>
      <p:ext uri="{BB962C8B-B14F-4D97-AF65-F5344CB8AC3E}">
        <p14:creationId xmlns:p14="http://schemas.microsoft.com/office/powerpoint/2010/main" val="54355011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8650" y="184150"/>
            <a:ext cx="7886700" cy="1325563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面對未來，社會領域的教學是</a:t>
            </a:r>
            <a:r>
              <a:rPr lang="en-US" altLang="zh-TW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…</a:t>
            </a:r>
            <a:endParaRPr lang="zh-TW" altLang="en-US" sz="36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  <a:cs typeface="+mn-cs"/>
            </a:endParaRPr>
          </a:p>
        </p:txBody>
      </p:sp>
      <p:sp>
        <p:nvSpPr>
          <p:cNvPr id="41987" name="投影片編號版面配置區 3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9DE53BCA-286F-43ED-997C-B795871578E9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1</a:t>
            </a:fld>
            <a:endParaRPr lang="zh-TW" altLang="en-US" sz="1200" dirty="0">
              <a:solidFill>
                <a:srgbClr val="898989"/>
              </a:solidFill>
            </a:endParaRPr>
          </a:p>
        </p:txBody>
      </p:sp>
      <p:graphicFrame>
        <p:nvGraphicFramePr>
          <p:cNvPr id="5" name="資料庫圖表 4"/>
          <p:cNvGraphicFramePr/>
          <p:nvPr>
            <p:extLst>
              <p:ext uri="{D42A27DB-BD31-4B8C-83A1-F6EECF244321}">
                <p14:modId xmlns:p14="http://schemas.microsoft.com/office/powerpoint/2010/main" val="1295369401"/>
              </p:ext>
            </p:extLst>
          </p:nvPr>
        </p:nvGraphicFramePr>
        <p:xfrm>
          <a:off x="628650" y="1438748"/>
          <a:ext cx="8135006" cy="49918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41989" name="圖片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28527">
            <a:off x="3607297" y="1863044"/>
            <a:ext cx="234950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0" name="圖片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28527">
            <a:off x="3607794" y="2430567"/>
            <a:ext cx="234950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1" name="圖片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28527">
            <a:off x="3739285" y="4387846"/>
            <a:ext cx="233363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992" name="圖片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328527">
            <a:off x="3719513" y="5227638"/>
            <a:ext cx="2555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內容版面配置區 2"/>
          <p:cNvSpPr>
            <a:spLocks noGrp="1"/>
          </p:cNvSpPr>
          <p:nvPr>
            <p:ph idx="1"/>
          </p:nvPr>
        </p:nvSpPr>
        <p:spPr>
          <a:xfrm>
            <a:off x="6022975" y="4283075"/>
            <a:ext cx="2705100" cy="1982788"/>
          </a:xfrm>
        </p:spPr>
        <p:txBody>
          <a:bodyPr/>
          <a:lstStyle/>
          <a:p>
            <a:pPr marL="0" lvl="1" indent="0" algn="ctr" eaLnBrk="1" hangingPunct="1">
              <a:spcBef>
                <a:spcPts val="1200"/>
              </a:spcBef>
              <a:buFont typeface="Arial" panose="020B0604020202020204" pitchFamily="34" charset="0"/>
              <a:buNone/>
              <a:defRPr/>
            </a:pPr>
            <a:r>
              <a:rPr lang="zh-TW" altLang="en-US" sz="3600" b="1" dirty="0">
                <a:solidFill>
                  <a:srgbClr val="B2003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多元適性</a:t>
            </a:r>
            <a:endParaRPr lang="en-US" altLang="zh-TW" sz="3600" b="1" dirty="0">
              <a:solidFill>
                <a:srgbClr val="B2003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  <a:p>
            <a:pPr marL="0" lvl="1" indent="0" algn="ctr" eaLnBrk="1" hangingPunct="1">
              <a:spcBef>
                <a:spcPts val="1200"/>
              </a:spcBef>
              <a:buFont typeface="Arial" panose="020B0604020202020204" pitchFamily="34" charset="0"/>
              <a:buNone/>
              <a:defRPr/>
            </a:pPr>
            <a:r>
              <a:rPr lang="zh-TW" altLang="en-US" dirty="0">
                <a:latin typeface="微軟正黑體" pitchFamily="34" charset="-120"/>
                <a:ea typeface="微軟正黑體" pitchFamily="34" charset="-120"/>
              </a:rPr>
              <a:t>在地連結</a:t>
            </a:r>
            <a:endParaRPr lang="en-US" altLang="zh-TW" dirty="0">
              <a:latin typeface="微軟正黑體" pitchFamily="34" charset="-120"/>
              <a:ea typeface="微軟正黑體" pitchFamily="34" charset="-120"/>
            </a:endParaRPr>
          </a:p>
          <a:p>
            <a:pPr marL="0" lvl="1" indent="0" algn="ctr" eaLnBrk="1" hangingPunct="1">
              <a:spcBef>
                <a:spcPts val="1200"/>
              </a:spcBef>
              <a:buFont typeface="Arial" panose="020B0604020202020204" pitchFamily="34" charset="0"/>
              <a:buNone/>
              <a:defRPr/>
            </a:pPr>
            <a:r>
              <a:rPr lang="zh-TW" altLang="en-US" dirty="0">
                <a:latin typeface="微軟正黑體" pitchFamily="34" charset="-120"/>
                <a:ea typeface="微軟正黑體" pitchFamily="34" charset="-120"/>
              </a:rPr>
              <a:t>適性教育</a:t>
            </a:r>
            <a:endParaRPr lang="en-US" altLang="zh-TW" dirty="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41987" name="內容版面配置區 2"/>
          <p:cNvSpPr txBox="1">
            <a:spLocks/>
          </p:cNvSpPr>
          <p:nvPr/>
        </p:nvSpPr>
        <p:spPr bwMode="auto">
          <a:xfrm>
            <a:off x="3049588" y="4283075"/>
            <a:ext cx="2919412" cy="179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28600" indent="-22860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1pPr>
            <a:lvl2pPr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>
                <a:solidFill>
                  <a:schemeClr val="tx1"/>
                </a:solidFill>
                <a:latin typeface="Calibri" pitchFamily="34" charset="0"/>
                <a:ea typeface="新細明體" pitchFamily="18" charset="-120"/>
              </a:defRPr>
            </a:lvl9pPr>
          </a:lstStyle>
          <a:p>
            <a:pPr marL="0" lvl="1" algn="ctr" eaLnBrk="1" hangingPunct="1">
              <a:spcBef>
                <a:spcPts val="1200"/>
              </a:spcBef>
              <a:buFont typeface="Arial" pitchFamily="34" charset="0"/>
              <a:buNone/>
              <a:defRPr/>
            </a:pPr>
            <a:r>
              <a:rPr lang="zh-TW" altLang="en-US" sz="3600" b="1" dirty="0">
                <a:solidFill>
                  <a:srgbClr val="B2003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連貫統整</a:t>
            </a:r>
            <a:endParaRPr lang="en-US" altLang="zh-TW" sz="3600" b="1" dirty="0">
              <a:solidFill>
                <a:srgbClr val="B2003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  <a:p>
            <a:pPr marL="0" lvl="1" algn="ctr" eaLnBrk="1" hangingPunct="1">
              <a:spcBef>
                <a:spcPts val="1200"/>
              </a:spcBef>
              <a:buFont typeface="Arial" pitchFamily="34" charset="0"/>
              <a:buNone/>
              <a:defRPr/>
            </a:pPr>
            <a:r>
              <a:rPr lang="zh-TW" altLang="en-US" dirty="0">
                <a:solidFill>
                  <a:srgbClr val="000000"/>
                </a:solidFill>
                <a:latin typeface="微軟正黑體" pitchFamily="34" charset="-120"/>
                <a:ea typeface="微軟正黑體" pitchFamily="34" charset="-120"/>
              </a:rPr>
              <a:t>各教育階段各學校類型縱向連貫、區隔與橫向整合。</a:t>
            </a:r>
            <a:endParaRPr lang="en-US" altLang="zh-TW" dirty="0">
              <a:solidFill>
                <a:srgbClr val="000000"/>
              </a:solidFill>
              <a:latin typeface="微軟正黑體" pitchFamily="34" charset="-120"/>
              <a:ea typeface="微軟正黑體" pitchFamily="34" charset="-120"/>
            </a:endParaRPr>
          </a:p>
          <a:p>
            <a:pPr eaLnBrk="1" hangingPunct="1">
              <a:defRPr/>
            </a:pPr>
            <a:endParaRPr lang="zh-TW" altLang="en-US" dirty="0">
              <a:solidFill>
                <a:srgbClr val="000000"/>
              </a:solidFill>
            </a:endParaRPr>
          </a:p>
        </p:txBody>
      </p:sp>
      <p:graphicFrame>
        <p:nvGraphicFramePr>
          <p:cNvPr id="15" name="資料庫圖表 14"/>
          <p:cNvGraphicFramePr/>
          <p:nvPr/>
        </p:nvGraphicFramePr>
        <p:xfrm>
          <a:off x="17394" y="1781666"/>
          <a:ext cx="3031717" cy="2238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7" name="內容版面配置區 2"/>
          <p:cNvSpPr txBox="1">
            <a:spLocks/>
          </p:cNvSpPr>
          <p:nvPr/>
        </p:nvSpPr>
        <p:spPr>
          <a:xfrm>
            <a:off x="344488" y="4348163"/>
            <a:ext cx="2705100" cy="188277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 fontAlgn="auto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zh-TW" altLang="en-US" sz="3900" b="1" dirty="0">
                <a:solidFill>
                  <a:srgbClr val="B2003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素養導向</a:t>
            </a:r>
            <a:endParaRPr lang="en-US" altLang="zh-TW" sz="3900" b="1" dirty="0">
              <a:solidFill>
                <a:srgbClr val="B2003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lvl="1" indent="0" algn="ctr" fontAlgn="auto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zh-TW" altLang="en-US" sz="2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連結經驗世界</a:t>
            </a:r>
            <a:endParaRPr lang="en-US" altLang="zh-TW" sz="2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0" lvl="1" indent="0" algn="ctr" fontAlgn="auto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zh-TW" altLang="en-US" sz="2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融入學習策略</a:t>
            </a:r>
          </a:p>
          <a:p>
            <a:pPr marL="0" lvl="1" indent="0" algn="ctr" fontAlgn="auto">
              <a:spcBef>
                <a:spcPts val="1200"/>
              </a:spcBef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zh-TW" altLang="en-US" sz="2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涵育公民素養</a:t>
            </a:r>
            <a:endParaRPr lang="en-US" altLang="zh-TW" sz="26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2057400" y="584200"/>
            <a:ext cx="50292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社會領域課綱的特色</a:t>
            </a:r>
          </a:p>
        </p:txBody>
      </p:sp>
      <p:sp>
        <p:nvSpPr>
          <p:cNvPr id="43015" name="投影片編號版面配置區 3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1288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031FB3F6-6F2D-472B-9F13-3A427CDD2A89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2</a:t>
            </a:fld>
            <a:endParaRPr lang="zh-TW" altLang="en-US" sz="1200">
              <a:solidFill>
                <a:srgbClr val="898989"/>
              </a:solidFill>
            </a:endParaRPr>
          </a:p>
        </p:txBody>
      </p:sp>
      <p:pic>
        <p:nvPicPr>
          <p:cNvPr id="43016" name="圖片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0738" y="2492375"/>
            <a:ext cx="2335212" cy="131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017" name="圖片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2975" y="2066925"/>
            <a:ext cx="2452688" cy="173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F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92150" y="2627313"/>
            <a:ext cx="7886700" cy="1325562"/>
          </a:xfrm>
        </p:spPr>
        <p:txBody>
          <a:bodyPr rtlCol="0">
            <a:normAutofit/>
          </a:bodyPr>
          <a:lstStyle/>
          <a:p>
            <a:pPr lvl="1" eaLnBrk="1" fontAlgn="auto" hangingPunct="1">
              <a:spcAft>
                <a:spcPts val="0"/>
              </a:spcAft>
              <a:defRPr/>
            </a:pPr>
            <a:r>
              <a:rPr lang="zh-TW" altLang="en-US" b="1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一、素養導向的課綱</a:t>
            </a:r>
          </a:p>
        </p:txBody>
      </p:sp>
      <p:sp>
        <p:nvSpPr>
          <p:cNvPr id="44035" name="投影片編號版面配置區 3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F7A2126B-FF0B-4733-8022-50F7B1F3D901}" type="slidenum">
              <a:rPr lang="zh-TW" altLang="en-US" sz="1200" smtClean="0">
                <a:solidFill>
                  <a:schemeClr val="bg1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3</a:t>
            </a:fld>
            <a:endParaRPr lang="zh-TW" altLang="en-US" sz="1200" dirty="0">
              <a:solidFill>
                <a:schemeClr val="bg1"/>
              </a:solidFill>
            </a:endParaRPr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9319" y="6485835"/>
            <a:ext cx="1220238" cy="233955"/>
          </a:xfrm>
          <a:prstGeom prst="rect">
            <a:avLst/>
          </a:prstGeom>
        </p:spPr>
      </p:pic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06400" y="130175"/>
            <a:ext cx="8474075" cy="825500"/>
          </a:xfrm>
        </p:spPr>
        <p:txBody>
          <a:bodyPr rtlCol="0"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課綱核心素養舉隅</a:t>
            </a:r>
          </a:p>
        </p:txBody>
      </p:sp>
      <p:graphicFrame>
        <p:nvGraphicFramePr>
          <p:cNvPr id="4" name="內容版面配置區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95460503"/>
              </p:ext>
            </p:extLst>
          </p:nvPr>
        </p:nvGraphicFramePr>
        <p:xfrm>
          <a:off x="82550" y="1014413"/>
          <a:ext cx="8990011" cy="3605260"/>
        </p:xfrm>
        <a:graphic>
          <a:graphicData uri="http://schemas.openxmlformats.org/drawingml/2006/table">
            <a:tbl>
              <a:tblPr firstRow="1" bandRow="1">
                <a:tableStyleId>{1E171933-4619-4E11-9A3F-F7608DF75F80}</a:tableStyleId>
              </a:tblPr>
              <a:tblGrid>
                <a:gridCol w="7192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3496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856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167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1673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816731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09723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kern="1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總綱核心素養面向</a:t>
                      </a:r>
                      <a:endParaRPr lang="zh-TW" sz="1800" b="1" kern="1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68585" marR="6858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kern="1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總綱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kern="1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核心</a:t>
                      </a:r>
                      <a:endParaRPr lang="en-US" altLang="zh-TW" sz="1800" kern="1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kern="1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素養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kern="1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項目</a:t>
                      </a:r>
                      <a:endParaRPr lang="zh-TW" sz="1800" b="1" kern="1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</a:txBody>
                  <a:tcPr marL="68585" marR="6858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kern="1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項目說明</a:t>
                      </a:r>
                      <a:endParaRPr lang="zh-TW" sz="1800" kern="1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68585" marR="6858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kern="1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國民小學教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(E)</a:t>
                      </a:r>
                      <a:endParaRPr lang="zh-TW" sz="1800" kern="1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68585" marR="6858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kern="1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國民中學教育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800" kern="1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(J)</a:t>
                      </a:r>
                      <a:endParaRPr lang="zh-TW" sz="1800" kern="1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68585" marR="6858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800" kern="1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高級中等學校教育</a:t>
                      </a:r>
                      <a:r>
                        <a:rPr lang="en-US" sz="1800" kern="100" dirty="0">
                          <a:solidFill>
                            <a:schemeClr val="accent4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(U)</a:t>
                      </a:r>
                      <a:endParaRPr lang="zh-TW" sz="1800" kern="100" dirty="0">
                        <a:solidFill>
                          <a:schemeClr val="accent4">
                            <a:lumMod val="50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68585" marR="68585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07980">
                <a:tc>
                  <a:txBody>
                    <a:bodyPr/>
                    <a:lstStyle/>
                    <a:p>
                      <a:endParaRPr lang="en-US" altLang="zh-TW" sz="18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endParaRPr lang="en-US" altLang="zh-TW" sz="18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endParaRPr lang="en-US" altLang="zh-TW" sz="18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/>
                      <a:r>
                        <a:rPr lang="en-US" altLang="zh-TW" sz="18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A</a:t>
                      </a:r>
                    </a:p>
                    <a:p>
                      <a:pPr algn="ctr"/>
                      <a:r>
                        <a:rPr lang="zh-TW" altLang="en-US" sz="18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自主行動</a:t>
                      </a:r>
                      <a:endParaRPr lang="en-US" altLang="zh-TW" sz="18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endParaRPr lang="zh-TW" altLang="en-US" sz="18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91446" marR="91446" marT="45718" marB="45718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altLang="zh-TW" sz="1800" kern="1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A2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altLang="en-US" sz="1800" kern="1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系統</a:t>
                      </a:r>
                      <a:endParaRPr lang="en-US" altLang="zh-TW" sz="1800" kern="1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altLang="en-US" sz="1800" kern="1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思考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altLang="en-US" sz="1800" kern="1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與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altLang="en-US" sz="1800" kern="1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解決</a:t>
                      </a:r>
                      <a:endParaRPr lang="en-US" altLang="zh-TW" sz="1800" kern="1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altLang="en-US" sz="1800" kern="1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問題</a:t>
                      </a:r>
                    </a:p>
                  </a:txBody>
                  <a:tcPr marL="68585" marR="68585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TW" altLang="en-US" sz="1800" kern="1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具備問題理解、思辨分析、推理批判的系統思考與後設思考素養，並能行動與反思，以有效處理及解決生活、生命問題。</a:t>
                      </a:r>
                      <a:endParaRPr lang="zh-TW" sz="1800" kern="100" dirty="0"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68585" marR="6858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altLang="en-US" sz="1800" kern="1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</a:t>
                      </a:r>
                      <a:r>
                        <a:rPr lang="en-US" altLang="zh-TW" sz="1800" kern="1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E-A2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TW" altLang="en-US" sz="1800" kern="1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敏覺居住地方的社會、自然與人文環境變遷，關注生活問題及其影響，並思考解決方法。</a:t>
                      </a:r>
                    </a:p>
                  </a:txBody>
                  <a:tcPr marL="68585" marR="6858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altLang="en-US" sz="1800" kern="1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</a:t>
                      </a:r>
                      <a:r>
                        <a:rPr lang="en-US" altLang="zh-TW" sz="1800" kern="1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J-A2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TW" altLang="en-US" sz="1800" kern="1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覺察人類生活相關議題，進而分析判斷及反思，並嘗試改善或解決問題。</a:t>
                      </a:r>
                    </a:p>
                  </a:txBody>
                  <a:tcPr marL="68585" marR="68585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altLang="en-US" sz="1800" kern="1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</a:t>
                      </a:r>
                      <a:r>
                        <a:rPr lang="en-US" altLang="zh-TW" sz="1800" kern="1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U-A2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TW" altLang="en-US" sz="1800" kern="100" dirty="0"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對人類生活相關議題，具備探索、思考、推理、分析、批判、統整與後設思考的素養，並能提出解決各種問題的可能策略。</a:t>
                      </a:r>
                    </a:p>
                  </a:txBody>
                  <a:tcPr marL="68585" marR="68585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9" name="圓角矩形 28"/>
          <p:cNvSpPr/>
          <p:nvPr/>
        </p:nvSpPr>
        <p:spPr>
          <a:xfrm>
            <a:off x="3446478" y="4829175"/>
            <a:ext cx="1512887" cy="1045152"/>
          </a:xfrm>
          <a:prstGeom prst="roundRect">
            <a:avLst/>
          </a:prstGeom>
          <a:solidFill>
            <a:schemeClr val="accent6">
              <a:lumMod val="40000"/>
              <a:lumOff val="60000"/>
            </a:schemeClr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敏覺關懷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思考解決方法</a:t>
            </a:r>
          </a:p>
        </p:txBody>
      </p:sp>
      <p:sp>
        <p:nvSpPr>
          <p:cNvPr id="30" name="向右箭號 29"/>
          <p:cNvSpPr/>
          <p:nvPr/>
        </p:nvSpPr>
        <p:spPr>
          <a:xfrm>
            <a:off x="5049853" y="5045075"/>
            <a:ext cx="288925" cy="360363"/>
          </a:xfrm>
          <a:prstGeom prst="righ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1" name="圓角矩形 30"/>
          <p:cNvSpPr/>
          <p:nvPr/>
        </p:nvSpPr>
        <p:spPr>
          <a:xfrm>
            <a:off x="5389469" y="4829175"/>
            <a:ext cx="1512887" cy="1059007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分析判斷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000" dirty="0">
                <a:solidFill>
                  <a:schemeClr val="tx1">
                    <a:lumMod val="85000"/>
                    <a:lumOff val="1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嘗試解決問題</a:t>
            </a:r>
          </a:p>
        </p:txBody>
      </p:sp>
      <p:sp>
        <p:nvSpPr>
          <p:cNvPr id="32" name="向右箭號 31"/>
          <p:cNvSpPr/>
          <p:nvPr/>
        </p:nvSpPr>
        <p:spPr>
          <a:xfrm>
            <a:off x="7032313" y="5045075"/>
            <a:ext cx="287338" cy="360363"/>
          </a:xfrm>
          <a:prstGeom prst="rightArrow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33" name="圓角矩形 32"/>
          <p:cNvSpPr/>
          <p:nvPr/>
        </p:nvSpPr>
        <p:spPr>
          <a:xfrm>
            <a:off x="7418403" y="4829175"/>
            <a:ext cx="1511300" cy="1017443"/>
          </a:xfrm>
          <a:prstGeom prst="roundRect">
            <a:avLst/>
          </a:prstGeom>
          <a:solidFill>
            <a:schemeClr val="accent6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0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批判統整</a:t>
            </a:r>
            <a:br>
              <a:rPr lang="en-US" altLang="zh-TW" sz="20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zh-TW" altLang="en-US" sz="2000" dirty="0">
                <a:solidFill>
                  <a:schemeClr val="bg1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提出解決策略</a:t>
            </a:r>
          </a:p>
        </p:txBody>
      </p:sp>
      <p:sp>
        <p:nvSpPr>
          <p:cNvPr id="45087" name="投影片編號版面配置區 2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51600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3CA878A8-3441-4478-819B-DA6EBDEC8564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4</a:t>
            </a:fld>
            <a:endParaRPr lang="zh-TW" altLang="en-US" sz="1200">
              <a:solidFill>
                <a:srgbClr val="898989"/>
              </a:solidFill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93675" y="195263"/>
            <a:ext cx="8734425" cy="944562"/>
          </a:xfrm>
        </p:spPr>
        <p:txBody>
          <a:bodyPr rtlCol="0"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zh-TW" altLang="en-US" sz="40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課綱核心素養與學習重點的呼應</a:t>
            </a:r>
          </a:p>
        </p:txBody>
      </p:sp>
      <p:graphicFrame>
        <p:nvGraphicFramePr>
          <p:cNvPr id="4" name="內容版面配置區 3">
            <a:hlinkClick r:id="rId2"/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95767862"/>
              </p:ext>
            </p:extLst>
          </p:nvPr>
        </p:nvGraphicFramePr>
        <p:xfrm>
          <a:off x="307787" y="1252724"/>
          <a:ext cx="8528425" cy="435255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4279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8642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3757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7651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09654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altLang="en-US" sz="170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會領域</a:t>
                      </a:r>
                      <a:r>
                        <a:rPr lang="zh-TW" sz="170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學習重點</a:t>
                      </a:r>
                      <a:endParaRPr lang="zh-TW" sz="1700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72483" marR="72483" marT="0" marB="0"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altLang="en-US" sz="170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會領域</a:t>
                      </a:r>
                      <a:endParaRPr lang="en-US" altLang="zh-TW" sz="1700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70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核心素養</a:t>
                      </a:r>
                      <a:endParaRPr lang="zh-TW" sz="1700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72483" marR="72483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70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說明</a:t>
                      </a:r>
                      <a:endParaRPr lang="zh-TW" sz="1700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72483" marR="72483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836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70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學習表現</a:t>
                      </a:r>
                      <a:endParaRPr lang="zh-TW" sz="1700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72483" marR="72483" marT="0" marB="0"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700" b="1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學習內容</a:t>
                      </a:r>
                      <a:endParaRPr lang="zh-TW" sz="1700" b="1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72483" marR="72483" marT="0" marB="0"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74531">
                <a:tc>
                  <a:txBody>
                    <a:bodyPr/>
                    <a:lstStyle/>
                    <a:p>
                      <a:pPr marL="0" indent="0" algn="l">
                        <a:spcAft>
                          <a:spcPts val="0"/>
                        </a:spcAft>
                      </a:pPr>
                      <a:r>
                        <a:rPr lang="zh-TW" altLang="en-US" sz="15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/>
                        </a:rPr>
                        <a:t>社</a:t>
                      </a:r>
                      <a:r>
                        <a:rPr lang="en-US" altLang="zh-TW" sz="15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/>
                        </a:rPr>
                        <a:t>2a-Ⅳ-1</a:t>
                      </a:r>
                      <a:r>
                        <a:rPr lang="zh-TW" altLang="en-US" sz="15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/>
                        </a:rPr>
                        <a:t>敏銳察覺人與環境的互動關係及其淵源。</a:t>
                      </a:r>
                    </a:p>
                    <a:p>
                      <a:pPr marL="0" indent="0" algn="l">
                        <a:spcAft>
                          <a:spcPts val="0"/>
                        </a:spcAft>
                      </a:pPr>
                      <a:r>
                        <a:rPr lang="zh-TW" altLang="en-US" sz="15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/>
                        </a:rPr>
                        <a:t>社</a:t>
                      </a:r>
                      <a:r>
                        <a:rPr lang="en-US" altLang="zh-TW" sz="15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/>
                        </a:rPr>
                        <a:t>2a-Ⅳ-3 </a:t>
                      </a:r>
                      <a:r>
                        <a:rPr lang="zh-TW" altLang="en-US" sz="15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/>
                        </a:rPr>
                        <a:t>關心不同的社會文化及其發展，並展現開闊的世界觀。</a:t>
                      </a:r>
                    </a:p>
                    <a:p>
                      <a:pPr marL="0" indent="0" algn="l">
                        <a:spcAft>
                          <a:spcPts val="0"/>
                        </a:spcAft>
                      </a:pPr>
                      <a:r>
                        <a:rPr lang="zh-TW" altLang="en-US" sz="15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/>
                        </a:rPr>
                        <a:t>社</a:t>
                      </a:r>
                      <a:r>
                        <a:rPr lang="en-US" altLang="zh-TW" sz="15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/>
                        </a:rPr>
                        <a:t>2b-Ⅳ-1</a:t>
                      </a:r>
                      <a:r>
                        <a:rPr lang="zh-TW" altLang="en-US" sz="15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/>
                        </a:rPr>
                        <a:t>感受個人或不同群體在社會處境中的經歷與情緒，並了解其抉擇。</a:t>
                      </a:r>
                    </a:p>
                    <a:p>
                      <a:pPr marL="0" indent="0" algn="l">
                        <a:spcAft>
                          <a:spcPts val="0"/>
                        </a:spcAft>
                      </a:pPr>
                      <a:r>
                        <a:rPr lang="zh-TW" altLang="en-US" sz="15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/>
                        </a:rPr>
                        <a:t>社</a:t>
                      </a:r>
                      <a:r>
                        <a:rPr lang="en-US" altLang="zh-TW" sz="15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/>
                        </a:rPr>
                        <a:t>2b-Ⅳ-2</a:t>
                      </a:r>
                      <a:r>
                        <a:rPr lang="zh-TW" altLang="en-US" sz="15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/>
                        </a:rPr>
                        <a:t>尊重不同群體文化的差異性，並欣賞其文化之美。</a:t>
                      </a:r>
                    </a:p>
                  </a:txBody>
                  <a:tcPr marL="72483" marR="72483" marT="0" marB="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TW" altLang="en-US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歷</a:t>
                      </a:r>
                      <a:r>
                        <a:rPr lang="en-US" altLang="zh-TW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Fa-Ⅳ-4</a:t>
                      </a:r>
                      <a:r>
                        <a:rPr lang="zh-TW" altLang="en-US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臺海兩岸關係與臺灣的國際處境。</a:t>
                      </a:r>
                      <a:endParaRPr lang="en-US" altLang="zh-TW" sz="1500" kern="1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+mn-cs"/>
                      </a:endParaRP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TW" altLang="en-US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歷</a:t>
                      </a:r>
                      <a:r>
                        <a:rPr lang="en-US" altLang="zh-TW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Ob-Ⅳ-1</a:t>
                      </a:r>
                      <a:r>
                        <a:rPr lang="zh-TW" altLang="en-US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歐洲的海外擴張與傳教。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TW" altLang="en-US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地</a:t>
                      </a:r>
                      <a:r>
                        <a:rPr lang="en-US" altLang="zh-TW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Ae-Ⅳ-3</a:t>
                      </a:r>
                      <a:r>
                        <a:rPr lang="zh-TW" altLang="en-US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臺灣的國際貿易與全球關連。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TW" altLang="en-US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地</a:t>
                      </a:r>
                      <a:r>
                        <a:rPr lang="en-US" altLang="zh-TW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Bc-Ⅳ-4</a:t>
                      </a:r>
                      <a:r>
                        <a:rPr lang="zh-TW" altLang="en-US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問題探究：大洋洲與臺灣原住民族文化的連結。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TW" altLang="en-US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公</a:t>
                      </a:r>
                      <a:r>
                        <a:rPr lang="en-US" altLang="zh-TW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Dc-Ⅳ-3</a:t>
                      </a:r>
                      <a:r>
                        <a:rPr lang="zh-TW" altLang="en-US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面對文化差異時，為什麼要互相尊重與包容？</a:t>
                      </a:r>
                    </a:p>
                    <a:p>
                      <a:pPr marL="0" algn="l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TW" altLang="en-US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公</a:t>
                      </a:r>
                      <a:r>
                        <a:rPr lang="en-US" altLang="zh-TW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Dd-Ⅳ-2</a:t>
                      </a:r>
                      <a:r>
                        <a:rPr lang="zh-TW" altLang="en-US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全球化帶來哪些影響？人們有哪些回應和評價？</a:t>
                      </a:r>
                    </a:p>
                  </a:txBody>
                  <a:tcPr marL="72483" marR="72483" marT="0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TW" altLang="en-US" sz="15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/>
                        </a:rPr>
                        <a:t>社</a:t>
                      </a:r>
                      <a:r>
                        <a:rPr lang="en-US" altLang="zh-TW" sz="15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/>
                        </a:rPr>
                        <a:t>-J-C3</a:t>
                      </a:r>
                    </a:p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lang="zh-TW" altLang="en-US" sz="15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/>
                        </a:rPr>
                        <a:t>尊重並欣賞各族群文化的多樣性，了解文化間的相互關聯，以及臺灣與國際社會的互動關係。</a:t>
                      </a:r>
                    </a:p>
                    <a:p>
                      <a:pPr marL="0" algn="just" defTabSz="914400" rtl="0" eaLnBrk="1" latinLnBrk="0" hangingPunct="1">
                        <a:spcAft>
                          <a:spcPts val="0"/>
                        </a:spcAft>
                      </a:pPr>
                      <a:endParaRPr lang="zh-TW" sz="1500" kern="100" dirty="0"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72483" marR="72483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TW" altLang="en-US" sz="1500" kern="100" dirty="0">
                          <a:solidFill>
                            <a:schemeClr val="tx2">
                              <a:lumMod val="50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Times New Roman"/>
                        </a:rPr>
                        <a:t>藉由探討不同的社會文化下，人與環境的互動關係及其淵源，學習尊重並欣賞各族群文化的多樣性，了解文化間的相互關聯，以及臺灣與國際社會的互動關係。</a:t>
                      </a:r>
                      <a:endParaRPr lang="zh-TW" sz="1500" kern="100" dirty="0">
                        <a:solidFill>
                          <a:schemeClr val="tx2">
                            <a:lumMod val="50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72483" marR="72483" marT="0" marB="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6110" name="文字方塊 4"/>
          <p:cNvSpPr txBox="1">
            <a:spLocks noChangeArrowheads="1"/>
          </p:cNvSpPr>
          <p:nvPr/>
        </p:nvSpPr>
        <p:spPr bwMode="auto">
          <a:xfrm>
            <a:off x="1128713" y="5792788"/>
            <a:ext cx="6436377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摘自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&lt;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社會領綱課程手冊</a:t>
            </a:r>
            <a:r>
              <a:rPr lang="en-US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&gt;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之「</a:t>
            </a:r>
            <a:r>
              <a:rPr lang="zh-TW" altLang="zh-TW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參、核心素養與學習重點的呼應說明</a:t>
            </a:r>
            <a:r>
              <a:rPr lang="zh-TW" altLang="en-US" sz="16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」</a:t>
            </a:r>
          </a:p>
        </p:txBody>
      </p:sp>
      <p:sp>
        <p:nvSpPr>
          <p:cNvPr id="46111" name="投影片編號版面配置區 2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68603F1C-8DCF-4682-913F-C81E62EB7D88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5</a:t>
            </a:fld>
            <a:endParaRPr lang="zh-TW" altLang="en-US" sz="1200">
              <a:solidFill>
                <a:srgbClr val="898989"/>
              </a:solidFill>
            </a:endParaRPr>
          </a:p>
        </p:txBody>
      </p:sp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0" y="275329"/>
            <a:ext cx="9158288" cy="769937"/>
          </a:xfrm>
        </p:spPr>
        <p:txBody>
          <a:bodyPr rtlCol="0">
            <a:no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zh-TW" altLang="en-US" sz="32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課綱核心素養與學習重點</a:t>
            </a:r>
            <a:br>
              <a:rPr lang="en-US" altLang="zh-TW" sz="32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</a:br>
            <a:r>
              <a:rPr lang="zh-TW" altLang="en-US" sz="32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雙向細目表舉隅</a:t>
            </a:r>
            <a:endParaRPr lang="zh-TW" altLang="en-US" sz="3200" b="1" spc="400" dirty="0">
              <a:solidFill>
                <a:srgbClr val="FFFF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  <a:cs typeface="+mn-cs"/>
            </a:endParaRP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0443080"/>
              </p:ext>
            </p:extLst>
          </p:nvPr>
        </p:nvGraphicFramePr>
        <p:xfrm>
          <a:off x="356388" y="1202636"/>
          <a:ext cx="8475628" cy="4907220"/>
        </p:xfrm>
        <a:graphic>
          <a:graphicData uri="http://schemas.openxmlformats.org/drawingml/2006/table">
            <a:tbl>
              <a:tblPr/>
              <a:tblGrid>
                <a:gridCol w="16802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7953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20061">
                <a:tc gridSpan="2"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會領域</a:t>
                      </a:r>
                      <a:r>
                        <a:rPr kumimoji="0" lang="zh-TW" altLang="zh-TW" sz="16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核心素養：</a:t>
                      </a:r>
                    </a:p>
                    <a:p>
                      <a:pPr marL="900113" marR="0" lvl="0" indent="-80803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09625" algn="l"/>
                        </a:tabLst>
                      </a:pPr>
                      <a:r>
                        <a:rPr kumimoji="0" lang="zh-TW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</a:t>
                      </a:r>
                      <a:r>
                        <a:rPr kumimoji="0" lang="en-US" altLang="zh-TW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U-A2</a:t>
                      </a:r>
                      <a:r>
                        <a:rPr kumimoji="0" lang="zh-TW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 對人類生活相關議題，具備探索、思考、推理、分析、批判、統整與後設思考的素養，並能提出解決各種問題的可能策略。</a:t>
                      </a:r>
                    </a:p>
                    <a:p>
                      <a:pPr marL="900113" marR="0" lvl="0" indent="-80803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809625" algn="l"/>
                        </a:tabLst>
                      </a:pPr>
                      <a:r>
                        <a:rPr kumimoji="0" lang="zh-TW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社</a:t>
                      </a:r>
                      <a:r>
                        <a:rPr kumimoji="0" lang="en-US" altLang="zh-TW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U-B1</a:t>
                      </a:r>
                      <a:r>
                        <a:rPr kumimoji="0" lang="zh-TW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  運用語言、文字、圖表、影像、肢體等表徵符號，</a:t>
                      </a:r>
                      <a:r>
                        <a:rPr kumimoji="0" lang="zh-TW" altLang="en-US" sz="1400" b="1" i="0" u="sng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表達</a:t>
                      </a:r>
                      <a:r>
                        <a:rPr kumimoji="0" lang="zh-TW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經驗、思想、價值與情意，且能同理他人所表達之意涵，增進與他人溝通。</a:t>
                      </a:r>
                    </a:p>
                  </a:txBody>
                  <a:tcPr marL="62770" marR="6277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97065">
                <a:tc>
                  <a:txBody>
                    <a:bodyPr/>
                    <a:lstStyle>
                      <a:lvl1pPr marL="304800" indent="231775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304800" marR="0" lvl="0" indent="2317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</a:t>
                      </a:r>
                      <a:endParaRPr kumimoji="0" lang="en-US" altLang="zh-TW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304800" marR="0" lvl="0" indent="2317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　  </a:t>
                      </a:r>
                      <a:r>
                        <a:rPr kumimoji="0" lang="zh-TW" altLang="zh-TW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學習表現</a:t>
                      </a:r>
                    </a:p>
                    <a:p>
                      <a:pPr marL="304800" marR="0" lvl="0" indent="2317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 </a:t>
                      </a:r>
                    </a:p>
                    <a:p>
                      <a:pPr marL="304800" marR="0" lvl="0" indent="-1301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zh-TW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學習內容</a:t>
                      </a:r>
                    </a:p>
                  </a:txBody>
                  <a:tcPr marL="62770" marR="6277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歷</a:t>
                      </a:r>
                      <a:r>
                        <a:rPr kumimoji="0" lang="en-US" altLang="zh-TW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c-Ⅴ-3</a:t>
                      </a:r>
                      <a:r>
                        <a:rPr kumimoji="0" lang="zh-TW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反思並評論重要歷史事件的影響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歷</a:t>
                      </a:r>
                      <a:r>
                        <a:rPr kumimoji="0" lang="en-US" altLang="zh-TW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b-Ⅴ-1</a:t>
                      </a:r>
                      <a:r>
                        <a:rPr kumimoji="0" lang="zh-TW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理解時空背景對歷史事件發展或人物的影響。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歷</a:t>
                      </a:r>
                      <a:r>
                        <a:rPr kumimoji="0" lang="en-US" altLang="zh-TW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b-V-1</a:t>
                      </a:r>
                      <a:r>
                        <a:rPr kumimoji="0" lang="zh-TW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根據主題進行歷史資料的蒐集、整理與分類。</a:t>
                      </a:r>
                    </a:p>
                  </a:txBody>
                  <a:tcPr marL="62770" marR="62770" marT="0" marB="0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E8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90094">
                <a:tc>
                  <a:txBody>
                    <a:bodyPr/>
                    <a:lstStyle>
                      <a:lvl1pPr marL="498475" indent="-498475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498475" marR="0" lvl="0" indent="-498475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zh-TW" sz="1400" b="1" i="0" u="none" strike="noStrike" cap="none" normalizeH="0" baseline="0" dirty="0">
                        <a:ln>
                          <a:noFill/>
                        </a:ln>
                        <a:solidFill>
                          <a:srgbClr val="40404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marL="179388" marR="0" lvl="0" indent="-179388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歷</a:t>
                      </a:r>
                      <a:r>
                        <a:rPr kumimoji="0" lang="en-US" altLang="zh-TW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b-V-2</a:t>
                      </a:r>
                      <a:r>
                        <a:rPr kumimoji="0" lang="zh-TW" altLang="en-US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戰後來臺的各方移民。</a:t>
                      </a:r>
                    </a:p>
                  </a:txBody>
                  <a:tcPr marL="62770" marR="6277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169863" indent="-169863"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新細明體" panose="02020500000000000000" pitchFamily="18" charset="-120"/>
                        </a:defRPr>
                      </a:lvl9pPr>
                    </a:lstStyle>
                    <a:p>
                      <a:pPr marL="169863" marR="0" lvl="0" indent="-169863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單元名稱：戰後來台的各方移民（普通型高中，歷史，共</a:t>
                      </a:r>
                      <a:r>
                        <a:rPr kumimoji="0" lang="en-US" altLang="zh-TW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節）</a:t>
                      </a:r>
                    </a:p>
                    <a:p>
                      <a:pPr marL="169863" marR="0" lvl="0" indent="-169863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學習目標：</a:t>
                      </a:r>
                    </a:p>
                    <a:p>
                      <a:pPr marL="169863" marR="0" lvl="0" indent="-169863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.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（社</a:t>
                      </a:r>
                      <a:r>
                        <a:rPr kumimoji="0" lang="en-US" altLang="zh-TW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U-A2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）理解戰後來台各方移民的遷入背景。（歷</a:t>
                      </a:r>
                      <a:r>
                        <a:rPr kumimoji="0" lang="en-US" altLang="zh-TW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b-Ⅴ-1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、歷</a:t>
                      </a:r>
                      <a:r>
                        <a:rPr kumimoji="0" lang="en-US" altLang="zh-TW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b-V-2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）</a:t>
                      </a:r>
                    </a:p>
                    <a:p>
                      <a:pPr marL="169863" marR="0" lvl="0" indent="-169863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.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（社</a:t>
                      </a:r>
                      <a:r>
                        <a:rPr kumimoji="0" lang="en-US" altLang="zh-TW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U-A2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）整理與分析戰後不同時期移民來台的原因。（歷</a:t>
                      </a:r>
                      <a:r>
                        <a:rPr kumimoji="0" lang="en-US" altLang="zh-TW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b-Ⅴ-1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、歷</a:t>
                      </a:r>
                      <a:r>
                        <a:rPr kumimoji="0" lang="en-US" altLang="zh-TW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b-V-2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）</a:t>
                      </a:r>
                    </a:p>
                    <a:p>
                      <a:pPr marL="169863" marR="0" lvl="0" indent="-169863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.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（社</a:t>
                      </a:r>
                      <a:r>
                        <a:rPr kumimoji="0" lang="en-US" altLang="zh-TW" sz="1400" b="0" i="0" u="none" strike="noStrike" cap="none" normalizeH="0" baseline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U-A2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）理解戰後移民社會的中下階層的生存處境，分析當時政府安置移民的考量。（歷</a:t>
                      </a:r>
                      <a:r>
                        <a:rPr kumimoji="0" lang="en-US" altLang="zh-TW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2b-Ⅴ-1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、歷</a:t>
                      </a:r>
                      <a:r>
                        <a:rPr kumimoji="0" lang="en-US" altLang="zh-TW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b-V-2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）</a:t>
                      </a:r>
                    </a:p>
                    <a:p>
                      <a:pPr marL="169863" marR="0" lvl="0" indent="-169863" algn="l" defTabSz="914400" rtl="0" eaLnBrk="1" fontAlgn="base" latinLnBrk="0" hangingPunct="1">
                        <a:lnSpc>
                          <a:spcPct val="15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zh-TW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4.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（社</a:t>
                      </a:r>
                      <a:r>
                        <a:rPr kumimoji="0" lang="en-US" altLang="zh-TW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-U-B1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）反思並表達個人或社會對於戰後移民者的想像。（歷</a:t>
                      </a:r>
                      <a:r>
                        <a:rPr kumimoji="0" lang="en-US" altLang="zh-TW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1c-Ⅴ-3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、歷</a:t>
                      </a:r>
                      <a:r>
                        <a:rPr kumimoji="0" lang="en-US" altLang="zh-TW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Bb-V-2</a:t>
                      </a:r>
                      <a:r>
                        <a:rPr kumimoji="0" lang="zh-TW" alt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rgbClr val="404040"/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）</a:t>
                      </a:r>
                    </a:p>
                  </a:txBody>
                  <a:tcPr marL="62770" marR="62770" marT="0" marB="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4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7120" name="文字方塊 4"/>
          <p:cNvSpPr txBox="1">
            <a:spLocks noChangeArrowheads="1"/>
          </p:cNvSpPr>
          <p:nvPr/>
        </p:nvSpPr>
        <p:spPr bwMode="auto">
          <a:xfrm>
            <a:off x="421790" y="6200343"/>
            <a:ext cx="565731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摘自</a:t>
            </a:r>
            <a:r>
              <a:rPr lang="en-US" altLang="zh-TW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&lt;</a:t>
            </a:r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社會領域課程綱要課程手冊</a:t>
            </a:r>
            <a:r>
              <a:rPr lang="en-US" altLang="zh-TW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&gt;</a:t>
            </a:r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之「</a:t>
            </a:r>
            <a:r>
              <a:rPr lang="zh-TW" altLang="zh-TW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伍、素養導向教材編寫原則</a:t>
            </a:r>
            <a:r>
              <a:rPr lang="zh-TW" altLang="en-US" sz="14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」</a:t>
            </a:r>
          </a:p>
        </p:txBody>
      </p:sp>
      <p:sp>
        <p:nvSpPr>
          <p:cNvPr id="47121" name="投影片編號版面配置區 5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D5214B6E-E1C0-4656-9E40-358B8984CF06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6</a:t>
            </a:fld>
            <a:endParaRPr lang="zh-TW" altLang="en-US" sz="1200">
              <a:solidFill>
                <a:srgbClr val="898989"/>
              </a:solidFill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6EA507E4-C822-44DE-B310-FA5F91F24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zh-TW" altLang="en-US" sz="40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素養導向教學與教材設計</a:t>
            </a:r>
            <a:br>
              <a:rPr lang="en-US" altLang="zh-TW" sz="40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</a:br>
            <a:r>
              <a:rPr lang="zh-TW" altLang="en-US" sz="40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兩大準則</a:t>
            </a:r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342E3A81-46C8-4449-95A0-4EF8DCFCF9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6355B4-B271-4125-861E-3044BF1D5AED}" type="slidenum">
              <a:rPr lang="zh-TW" altLang="en-US" smtClean="0"/>
              <a:pPr>
                <a:defRPr/>
              </a:pPr>
              <a:t>27</a:t>
            </a:fld>
            <a:endParaRPr lang="zh-TW" altLang="en-US"/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9357043F-7A51-48F0-BFD3-D1C447C5A19D}"/>
              </a:ext>
            </a:extLst>
          </p:cNvPr>
          <p:cNvSpPr/>
          <p:nvPr/>
        </p:nvSpPr>
        <p:spPr>
          <a:xfrm>
            <a:off x="956235" y="2265083"/>
            <a:ext cx="7279341" cy="633506"/>
          </a:xfrm>
          <a:prstGeom prst="rect">
            <a:avLst/>
          </a:prstGeom>
          <a:solidFill>
            <a:schemeClr val="accent2"/>
          </a:solidFill>
          <a:ln>
            <a:solidFill>
              <a:srgbClr val="ED7D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2200" b="1" dirty="0">
                <a:latin typeface="標楷體" panose="03000509000000000000" pitchFamily="65" charset="-120"/>
                <a:ea typeface="標楷體" panose="03000509000000000000" pitchFamily="65" charset="-120"/>
              </a:rPr>
              <a:t>妥善運用領綱的理念、目標、領域核心素養、學習重點等</a:t>
            </a:r>
          </a:p>
        </p:txBody>
      </p:sp>
      <p:sp>
        <p:nvSpPr>
          <p:cNvPr id="6" name="加號 5">
            <a:extLst>
              <a:ext uri="{FF2B5EF4-FFF2-40B4-BE49-F238E27FC236}">
                <a16:creationId xmlns:a16="http://schemas.microsoft.com/office/drawing/2014/main" id="{B18A9BCE-33B2-4BCA-8811-23399886B53A}"/>
              </a:ext>
            </a:extLst>
          </p:cNvPr>
          <p:cNvSpPr/>
          <p:nvPr/>
        </p:nvSpPr>
        <p:spPr>
          <a:xfrm>
            <a:off x="4288117" y="2982970"/>
            <a:ext cx="696686" cy="693699"/>
          </a:xfrm>
          <a:prstGeom prst="mathPlus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graphicFrame>
        <p:nvGraphicFramePr>
          <p:cNvPr id="7" name="資料庫圖表 6">
            <a:extLst>
              <a:ext uri="{FF2B5EF4-FFF2-40B4-BE49-F238E27FC236}">
                <a16:creationId xmlns:a16="http://schemas.microsoft.com/office/drawing/2014/main" id="{AE4DFACD-AE05-4B37-9DE3-B71D48545D8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41561392"/>
              </p:ext>
            </p:extLst>
          </p:nvPr>
        </p:nvGraphicFramePr>
        <p:xfrm>
          <a:off x="956235" y="3429000"/>
          <a:ext cx="7360451" cy="28388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箭號: 五邊形 8">
            <a:extLst>
              <a:ext uri="{FF2B5EF4-FFF2-40B4-BE49-F238E27FC236}">
                <a16:creationId xmlns:a16="http://schemas.microsoft.com/office/drawing/2014/main" id="{4BEAA886-C11D-4536-8217-CA5ABED63DAC}"/>
              </a:ext>
            </a:extLst>
          </p:cNvPr>
          <p:cNvSpPr/>
          <p:nvPr/>
        </p:nvSpPr>
        <p:spPr>
          <a:xfrm rot="2700000">
            <a:off x="592794" y="1990336"/>
            <a:ext cx="595057" cy="513290"/>
          </a:xfrm>
          <a:prstGeom prst="homePlat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2400" dirty="0">
                <a:latin typeface="Arial Black" panose="020B0A04020102020204" pitchFamily="34" charset="0"/>
                <a:ea typeface="微軟正黑體" panose="020B0604030504040204" pitchFamily="34" charset="-120"/>
              </a:rPr>
              <a:t>1</a:t>
            </a:r>
            <a:endParaRPr lang="zh-TW" altLang="en-US" sz="2400" dirty="0">
              <a:latin typeface="Arial Black" panose="020B0A04020102020204" pitchFamily="34" charset="0"/>
              <a:ea typeface="微軟正黑體" panose="020B0604030504040204" pitchFamily="34" charset="-120"/>
            </a:endParaRPr>
          </a:p>
        </p:txBody>
      </p:sp>
      <p:sp>
        <p:nvSpPr>
          <p:cNvPr id="10" name="箭號: 五邊形 9">
            <a:extLst>
              <a:ext uri="{FF2B5EF4-FFF2-40B4-BE49-F238E27FC236}">
                <a16:creationId xmlns:a16="http://schemas.microsoft.com/office/drawing/2014/main" id="{57265E66-2E2B-448D-BEDC-99B045E44041}"/>
              </a:ext>
            </a:extLst>
          </p:cNvPr>
          <p:cNvSpPr/>
          <p:nvPr/>
        </p:nvSpPr>
        <p:spPr>
          <a:xfrm rot="2700000">
            <a:off x="658705" y="3811883"/>
            <a:ext cx="595057" cy="513290"/>
          </a:xfrm>
          <a:prstGeom prst="homePlate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TW" sz="2400" dirty="0">
                <a:latin typeface="Arial Black" panose="020B0A04020102020204" pitchFamily="34" charset="0"/>
                <a:ea typeface="微軟正黑體" panose="020B0604030504040204" pitchFamily="34" charset="-120"/>
              </a:rPr>
              <a:t>2</a:t>
            </a:r>
            <a:endParaRPr lang="zh-TW" altLang="en-US" sz="2400" dirty="0">
              <a:latin typeface="Arial Black" panose="020B0A04020102020204" pitchFamily="34" charset="0"/>
              <a:ea typeface="微軟正黑體" panose="020B0604030504040204" pitchFamily="34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193701313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投影片編號版面配置區 1"/>
          <p:cNvSpPr>
            <a:spLocks noGrp="1"/>
          </p:cNvSpPr>
          <p:nvPr>
            <p:ph type="sldNum" sz="quarter" idx="12"/>
          </p:nvPr>
        </p:nvSpPr>
        <p:spPr>
          <a:xfrm>
            <a:off x="7086600" y="6498005"/>
            <a:ext cx="2057400" cy="365125"/>
          </a:xfrm>
        </p:spPr>
        <p:txBody>
          <a:bodyPr/>
          <a:lstStyle/>
          <a:p>
            <a:pPr>
              <a:defRPr/>
            </a:pPr>
            <a:fld id="{99BF4EED-F24C-420D-B541-F5B5D702392D}" type="slidenum">
              <a:rPr lang="zh-TW" altLang="en-US" smtClean="0"/>
              <a:pPr>
                <a:defRPr/>
              </a:pPr>
              <a:t>28</a:t>
            </a:fld>
            <a:endParaRPr lang="zh-TW" altLang="en-US" dirty="0"/>
          </a:p>
        </p:txBody>
      </p:sp>
      <p:sp>
        <p:nvSpPr>
          <p:cNvPr id="3" name="標題 1"/>
          <p:cNvSpPr txBox="1">
            <a:spLocks/>
          </p:cNvSpPr>
          <p:nvPr/>
        </p:nvSpPr>
        <p:spPr>
          <a:xfrm>
            <a:off x="684213" y="333375"/>
            <a:ext cx="7772400" cy="1227138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kumimoji="0" lang="zh-TW" altLang="en-US" sz="3200" b="1" i="0" u="none" strike="noStrike" kern="1200" cap="none" spc="40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itchFamily="34" charset="-120"/>
                <a:ea typeface="微軟正黑體" pitchFamily="34" charset="-120"/>
                <a:cs typeface="+mn-cs"/>
              </a:rPr>
              <a:t>素養導向課程與教學舉隅</a:t>
            </a:r>
            <a:r>
              <a:rPr kumimoji="0" lang="en-US" altLang="zh-TW" sz="3200" b="1" i="0" u="none" strike="noStrike" kern="1200" cap="none" spc="40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itchFamily="34" charset="-120"/>
                <a:ea typeface="微軟正黑體" pitchFamily="34" charset="-120"/>
                <a:cs typeface="+mn-cs"/>
              </a:rPr>
              <a:t>-</a:t>
            </a:r>
            <a:br>
              <a:rPr kumimoji="0" lang="en-US" altLang="zh-TW" sz="3200" b="1" i="0" u="none" strike="noStrike" kern="1200" cap="none" spc="400" normalizeH="0" baseline="0" noProof="0" dirty="0">
                <a:ln>
                  <a:noFill/>
                </a:ln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微軟正黑體" pitchFamily="34" charset="-120"/>
                <a:ea typeface="微軟正黑體" pitchFamily="34" charset="-120"/>
                <a:cs typeface="+mn-cs"/>
              </a:rPr>
            </a:br>
            <a:r>
              <a:rPr lang="zh-TW" altLang="en-US" sz="32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戰後來臺的各方移民</a:t>
            </a:r>
            <a:endParaRPr kumimoji="0" lang="zh-TW" altLang="en-US" sz="3200" b="1" i="0" u="none" strike="noStrike" kern="1200" cap="none" spc="400" normalizeH="0" baseline="0" noProof="0" dirty="0">
              <a:ln>
                <a:noFill/>
              </a:ln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微軟正黑體" pitchFamily="34" charset="-120"/>
              <a:ea typeface="微軟正黑體" pitchFamily="34" charset="-120"/>
              <a:cs typeface="+mn-cs"/>
            </a:endParaRPr>
          </a:p>
        </p:txBody>
      </p:sp>
      <p:sp>
        <p:nvSpPr>
          <p:cNvPr id="96273" name="Rectangle 17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sp>
        <p:nvSpPr>
          <p:cNvPr id="131085" name="Rectangle 13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zh-TW" altLang="en-US"/>
          </a:p>
        </p:txBody>
      </p:sp>
      <p:grpSp>
        <p:nvGrpSpPr>
          <p:cNvPr id="131073" name="Group 1"/>
          <p:cNvGrpSpPr>
            <a:grpSpLocks noChangeAspect="1"/>
          </p:cNvGrpSpPr>
          <p:nvPr/>
        </p:nvGrpSpPr>
        <p:grpSpPr bwMode="auto">
          <a:xfrm>
            <a:off x="387926" y="1731818"/>
            <a:ext cx="8256929" cy="4192665"/>
            <a:chOff x="1582" y="3352"/>
            <a:chExt cx="8020" cy="4072"/>
          </a:xfrm>
        </p:grpSpPr>
        <p:sp>
          <p:nvSpPr>
            <p:cNvPr id="131084" name="AutoShape 12"/>
            <p:cNvSpPr>
              <a:spLocks noChangeAspect="1" noChangeArrowheads="1" noTextEdit="1"/>
            </p:cNvSpPr>
            <p:nvPr/>
          </p:nvSpPr>
          <p:spPr bwMode="auto">
            <a:xfrm>
              <a:off x="1582" y="3352"/>
              <a:ext cx="7980" cy="4072"/>
            </a:xfrm>
            <a:prstGeom prst="rect">
              <a:avLst/>
            </a:prstGeom>
            <a:noFill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TW" altLang="en-US"/>
            </a:p>
          </p:txBody>
        </p:sp>
        <p:sp>
          <p:nvSpPr>
            <p:cNvPr id="131083" name="AutoShape 11"/>
            <p:cNvSpPr>
              <a:spLocks noChangeArrowheads="1"/>
            </p:cNvSpPr>
            <p:nvPr/>
          </p:nvSpPr>
          <p:spPr bwMode="auto">
            <a:xfrm>
              <a:off x="1582" y="4200"/>
              <a:ext cx="1352" cy="969"/>
            </a:xfrm>
            <a:prstGeom prst="roundRect">
              <a:avLst>
                <a:gd name="adj" fmla="val 16667"/>
              </a:avLst>
            </a:prstGeom>
            <a:solidFill>
              <a:srgbClr val="92D05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zh-TW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生活情境：</a:t>
              </a:r>
              <a:endParaRPr kumimoji="1" lang="zh-TW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軟正黑體" pitchFamily="34" charset="-120"/>
                <a:ea typeface="微軟正黑體" pitchFamily="34" charset="-120"/>
                <a:cs typeface="新細明體" pitchFamily="18" charset="-12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zh-TW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沙茶醬哪裡來的？</a:t>
              </a:r>
              <a:endParaRPr kumimoji="1" lang="zh-TW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軟正黑體" pitchFamily="34" charset="-120"/>
                <a:ea typeface="微軟正黑體" pitchFamily="34" charset="-120"/>
                <a:cs typeface="新細明體" pitchFamily="18" charset="-120"/>
              </a:endParaRPr>
            </a:p>
          </p:txBody>
        </p:sp>
        <p:sp>
          <p:nvSpPr>
            <p:cNvPr id="131082" name="AutoShape 10"/>
            <p:cNvSpPr>
              <a:spLocks noChangeArrowheads="1"/>
            </p:cNvSpPr>
            <p:nvPr/>
          </p:nvSpPr>
          <p:spPr bwMode="auto">
            <a:xfrm>
              <a:off x="3142" y="4681"/>
              <a:ext cx="728" cy="650"/>
            </a:xfrm>
            <a:prstGeom prst="rightArrow">
              <a:avLst>
                <a:gd name="adj1" fmla="val 50000"/>
                <a:gd name="adj2" fmla="val 28000"/>
              </a:avLst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TW" altLang="en-US"/>
            </a:p>
          </p:txBody>
        </p:sp>
        <p:sp>
          <p:nvSpPr>
            <p:cNvPr id="131081" name="Rectangle 9"/>
            <p:cNvSpPr>
              <a:spLocks noChangeArrowheads="1"/>
            </p:cNvSpPr>
            <p:nvPr/>
          </p:nvSpPr>
          <p:spPr bwMode="auto">
            <a:xfrm>
              <a:off x="3124" y="4067"/>
              <a:ext cx="697" cy="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zh-TW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動機</a:t>
              </a:r>
              <a:endParaRPr kumimoji="1" lang="zh-TW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軟正黑體" pitchFamily="34" charset="-120"/>
                <a:ea typeface="微軟正黑體" pitchFamily="34" charset="-120"/>
                <a:cs typeface="新細明體" pitchFamily="18" charset="-120"/>
              </a:endParaRPr>
            </a:p>
          </p:txBody>
        </p:sp>
        <p:sp>
          <p:nvSpPr>
            <p:cNvPr id="131080" name="AutoShape 8"/>
            <p:cNvSpPr>
              <a:spLocks noChangeArrowheads="1"/>
            </p:cNvSpPr>
            <p:nvPr/>
          </p:nvSpPr>
          <p:spPr bwMode="auto">
            <a:xfrm>
              <a:off x="3975" y="3784"/>
              <a:ext cx="2886" cy="1872"/>
            </a:xfrm>
            <a:prstGeom prst="roundRect">
              <a:avLst>
                <a:gd name="adj" fmla="val 16667"/>
              </a:avLst>
            </a:prstGeom>
            <a:solidFill>
              <a:srgbClr val="FFFF0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</a:pPr>
              <a:r>
                <a:rPr kumimoji="1" lang="zh-TW" sz="2000" b="1" i="0" u="sng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戰後來</a:t>
              </a:r>
              <a:r>
                <a:rPr kumimoji="1" lang="zh-TW" altLang="en-US" sz="2000" b="1" u="sng" dirty="0"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臺</a:t>
              </a:r>
              <a:r>
                <a:rPr kumimoji="1" lang="zh-TW" sz="2000" b="1" i="0" u="sng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的各方移民</a:t>
              </a:r>
              <a:endParaRPr kumimoji="1" lang="zh-TW" sz="2000" b="1" i="0" u="sng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軟正黑體" pitchFamily="34" charset="-120"/>
                <a:ea typeface="微軟正黑體" pitchFamily="34" charset="-120"/>
                <a:cs typeface="新細明體" pitchFamily="18" charset="-120"/>
              </a:endParaRPr>
            </a:p>
            <a:p>
              <a:pPr marL="263525" marR="0" lvl="0" indent="-263525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Char char="p"/>
                <a:tabLst/>
              </a:pPr>
              <a:r>
                <a:rPr kumimoji="1" lang="zh-TW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戰後各族群移入臺灣的背景與動機。</a:t>
              </a:r>
              <a:endParaRPr kumimoji="1" lang="zh-TW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軟正黑體" pitchFamily="34" charset="-120"/>
                <a:ea typeface="微軟正黑體" pitchFamily="34" charset="-120"/>
                <a:cs typeface="新細明體" pitchFamily="18" charset="-120"/>
              </a:endParaRPr>
            </a:p>
            <a:p>
              <a:pPr marL="263525" marR="0" lvl="0" indent="-263525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Wingdings" pitchFamily="2" charset="2"/>
                <a:buChar char="p"/>
                <a:tabLst/>
              </a:pPr>
              <a:r>
                <a:rPr kumimoji="1" lang="zh-TW" sz="2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移民者的遭遇與生活樣態。</a:t>
              </a:r>
              <a:endParaRPr kumimoji="1" lang="zh-TW" sz="20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軟正黑體" pitchFamily="34" charset="-120"/>
                <a:ea typeface="微軟正黑體" pitchFamily="34" charset="-120"/>
                <a:cs typeface="新細明體" pitchFamily="18" charset="-120"/>
              </a:endParaRPr>
            </a:p>
          </p:txBody>
        </p:sp>
        <p:sp>
          <p:nvSpPr>
            <p:cNvPr id="131079" name="AutoShape 7"/>
            <p:cNvSpPr>
              <a:spLocks noChangeArrowheads="1"/>
            </p:cNvSpPr>
            <p:nvPr/>
          </p:nvSpPr>
          <p:spPr bwMode="auto">
            <a:xfrm>
              <a:off x="7094" y="4356"/>
              <a:ext cx="702" cy="689"/>
            </a:xfrm>
            <a:prstGeom prst="rightArrow">
              <a:avLst>
                <a:gd name="adj1" fmla="val 50000"/>
                <a:gd name="adj2" fmla="val 25472"/>
              </a:avLst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TW" altLang="en-US"/>
            </a:p>
          </p:txBody>
        </p:sp>
        <p:sp>
          <p:nvSpPr>
            <p:cNvPr id="131078" name="Rectangle 6"/>
            <p:cNvSpPr>
              <a:spLocks noChangeArrowheads="1"/>
            </p:cNvSpPr>
            <p:nvPr/>
          </p:nvSpPr>
          <p:spPr bwMode="auto">
            <a:xfrm>
              <a:off x="7094" y="3823"/>
              <a:ext cx="666" cy="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zh-TW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分析</a:t>
              </a:r>
              <a:endParaRPr kumimoji="1" lang="zh-TW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軟正黑體" pitchFamily="34" charset="-120"/>
                <a:ea typeface="微軟正黑體" pitchFamily="34" charset="-120"/>
                <a:cs typeface="新細明體" pitchFamily="18" charset="-120"/>
              </a:endParaRPr>
            </a:p>
          </p:txBody>
        </p:sp>
        <p:sp>
          <p:nvSpPr>
            <p:cNvPr id="131077" name="Rectangle 5"/>
            <p:cNvSpPr>
              <a:spLocks noChangeArrowheads="1"/>
            </p:cNvSpPr>
            <p:nvPr/>
          </p:nvSpPr>
          <p:spPr bwMode="auto">
            <a:xfrm>
              <a:off x="7094" y="5110"/>
              <a:ext cx="676" cy="4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zh-TW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省思</a:t>
              </a:r>
              <a:endParaRPr kumimoji="1" lang="zh-TW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軟正黑體" pitchFamily="34" charset="-120"/>
                <a:ea typeface="微軟正黑體" pitchFamily="34" charset="-120"/>
                <a:cs typeface="新細明體" pitchFamily="18" charset="-120"/>
              </a:endParaRPr>
            </a:p>
          </p:txBody>
        </p:sp>
        <p:sp>
          <p:nvSpPr>
            <p:cNvPr id="131076" name="AutoShape 4"/>
            <p:cNvSpPr>
              <a:spLocks noChangeArrowheads="1"/>
            </p:cNvSpPr>
            <p:nvPr/>
          </p:nvSpPr>
          <p:spPr bwMode="auto">
            <a:xfrm>
              <a:off x="7940" y="4122"/>
              <a:ext cx="1662" cy="1209"/>
            </a:xfrm>
            <a:prstGeom prst="roundRect">
              <a:avLst>
                <a:gd name="adj" fmla="val 16667"/>
              </a:avLst>
            </a:prstGeom>
            <a:solidFill>
              <a:srgbClr val="92D050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zh-TW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表現任務：</a:t>
              </a:r>
              <a:endParaRPr kumimoji="1" lang="zh-TW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軟正黑體" pitchFamily="34" charset="-120"/>
                <a:ea typeface="微軟正黑體" pitchFamily="34" charset="-120"/>
                <a:cs typeface="新細明體" pitchFamily="18" charset="-12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zh-TW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「台灣移民」</a:t>
              </a:r>
              <a:endParaRPr kumimoji="1" lang="zh-TW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軟正黑體" pitchFamily="34" charset="-120"/>
                <a:ea typeface="微軟正黑體" pitchFamily="34" charset="-120"/>
                <a:cs typeface="新細明體" pitchFamily="18" charset="-120"/>
              </a:endParaRPr>
            </a:p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zh-TW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意象拼圖！</a:t>
              </a:r>
              <a:endParaRPr kumimoji="1" lang="zh-TW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軟正黑體" pitchFamily="34" charset="-120"/>
                <a:ea typeface="微軟正黑體" pitchFamily="34" charset="-120"/>
                <a:cs typeface="新細明體" pitchFamily="18" charset="-120"/>
              </a:endParaRPr>
            </a:p>
          </p:txBody>
        </p:sp>
        <p:sp>
          <p:nvSpPr>
            <p:cNvPr id="131075" name="AutoShape 3"/>
            <p:cNvSpPr>
              <a:spLocks noChangeArrowheads="1"/>
            </p:cNvSpPr>
            <p:nvPr/>
          </p:nvSpPr>
          <p:spPr bwMode="auto">
            <a:xfrm>
              <a:off x="3049" y="5923"/>
              <a:ext cx="4818" cy="1047"/>
            </a:xfrm>
            <a:prstGeom prst="roundRect">
              <a:avLst>
                <a:gd name="adj" fmla="val 16667"/>
              </a:avLst>
            </a:prstGeom>
            <a:solidFill>
              <a:srgbClr val="92CDDC"/>
            </a:solidFill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1" lang="zh-TW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人權教育議題融入教學：</a:t>
              </a:r>
              <a:endParaRPr kumimoji="1" lang="zh-TW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軟正黑體" pitchFamily="34" charset="-120"/>
                <a:ea typeface="微軟正黑體" pitchFamily="34" charset="-120"/>
                <a:cs typeface="新細明體" pitchFamily="18" charset="-120"/>
              </a:endParaRPr>
            </a:p>
            <a:p>
              <a:pPr lvl="0"/>
              <a:r>
                <a:rPr kumimoji="1" lang="zh-TW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「眷村生活史」學習單：戰後初期</a:t>
              </a:r>
              <a:r>
                <a:rPr kumimoji="1" lang="zh-TW" altLang="zh-TW" dirty="0"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來臺老兵</a:t>
              </a:r>
              <a:r>
                <a:rPr kumimoji="1" lang="zh-TW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微軟正黑體" pitchFamily="34" charset="-120"/>
                  <a:ea typeface="微軟正黑體" pitchFamily="34" charset="-120"/>
                  <a:cs typeface="Times New Roman" pitchFamily="18" charset="0"/>
                </a:rPr>
                <a:t>所面對的「禁婚令」與「結婚年齡限制」。</a:t>
              </a:r>
              <a:endParaRPr kumimoji="1" lang="zh-TW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微軟正黑體" pitchFamily="34" charset="-120"/>
                <a:ea typeface="微軟正黑體" pitchFamily="34" charset="-120"/>
                <a:cs typeface="新細明體" pitchFamily="18" charset="-120"/>
              </a:endParaRPr>
            </a:p>
          </p:txBody>
        </p:sp>
        <p:sp>
          <p:nvSpPr>
            <p:cNvPr id="131074" name="AutoShape 2"/>
            <p:cNvSpPr>
              <a:spLocks noChangeShapeType="1"/>
            </p:cNvSpPr>
            <p:nvPr/>
          </p:nvSpPr>
          <p:spPr bwMode="auto">
            <a:xfrm flipH="1">
              <a:off x="5412" y="5656"/>
              <a:ext cx="7" cy="267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zh-TW" altLang="en-US"/>
            </a:p>
          </p:txBody>
        </p:sp>
      </p:grp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F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92150" y="2627313"/>
            <a:ext cx="7886700" cy="1325562"/>
          </a:xfrm>
        </p:spPr>
        <p:txBody>
          <a:bodyPr rtlCol="0">
            <a:normAutofit/>
          </a:bodyPr>
          <a:lstStyle/>
          <a:p>
            <a:pPr lvl="1" eaLnBrk="1" fontAlgn="auto" hangingPunct="1">
              <a:spcAft>
                <a:spcPts val="0"/>
              </a:spcAft>
              <a:defRPr/>
            </a:pPr>
            <a:r>
              <a:rPr lang="zh-TW" altLang="en-US" b="1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二、連貫統整的課綱</a:t>
            </a:r>
          </a:p>
        </p:txBody>
      </p:sp>
      <p:sp>
        <p:nvSpPr>
          <p:cNvPr id="53251" name="投影片編號版面配置區 2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1BE1D32E-5BE2-4E7F-A945-DA0D067DACF4}" type="slidenum">
              <a:rPr lang="zh-TW" altLang="en-US" sz="1200" smtClean="0">
                <a:solidFill>
                  <a:schemeClr val="bg1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9</a:t>
            </a:fld>
            <a:endParaRPr lang="zh-TW" altLang="en-US" sz="1200" dirty="0">
              <a:solidFill>
                <a:schemeClr val="bg1"/>
              </a:solidFill>
            </a:endParaRPr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9319" y="6485835"/>
            <a:ext cx="1220238" cy="233955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362075" y="2792413"/>
            <a:ext cx="7886700" cy="1323975"/>
          </a:xfrm>
        </p:spPr>
        <p:txBody>
          <a:bodyPr rtlCol="0">
            <a:noAutofit/>
          </a:bodyPr>
          <a:lstStyle/>
          <a:p>
            <a:pPr algn="ctr" eaLnBrk="1" fontAlgn="auto" hangingPunct="1">
              <a:lnSpc>
                <a:spcPct val="150000"/>
              </a:lnSpc>
              <a:spcAft>
                <a:spcPts val="0"/>
              </a:spcAft>
              <a:defRPr/>
            </a:pPr>
            <a:r>
              <a:rPr lang="zh-TW" altLang="en-US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十二年國民基本教育課程綱要</a:t>
            </a:r>
            <a:br>
              <a:rPr lang="zh-TW" altLang="en-US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zh-TW" altLang="en-US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總綱重要理念與內涵</a:t>
            </a:r>
          </a:p>
        </p:txBody>
      </p:sp>
      <p:sp>
        <p:nvSpPr>
          <p:cNvPr id="19459" name="投影片編號版面配置區 2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2FDB575B-16C3-42E6-BC16-96945D3ECC86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3</a:t>
            </a:fld>
            <a:endParaRPr lang="zh-TW" altLang="en-US" sz="1200">
              <a:solidFill>
                <a:srgbClr val="898989"/>
              </a:solidFill>
            </a:endParaRPr>
          </a:p>
        </p:txBody>
      </p:sp>
      <p:sp>
        <p:nvSpPr>
          <p:cNvPr id="15" name="Rectangle 37"/>
          <p:cNvSpPr/>
          <p:nvPr/>
        </p:nvSpPr>
        <p:spPr>
          <a:xfrm>
            <a:off x="8675688" y="3216275"/>
            <a:ext cx="477837" cy="476250"/>
          </a:xfrm>
          <a:prstGeom prst="rect">
            <a:avLst/>
          </a:prstGeom>
          <a:solidFill>
            <a:srgbClr val="7000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zh-TW" dirty="0">
                <a:solidFill>
                  <a:srgbClr val="70001D"/>
                </a:solidFill>
                <a:latin typeface="Simple-Line-Icons" pitchFamily="2" charset="2"/>
              </a:rPr>
              <a:t></a:t>
            </a:r>
            <a:endParaRPr lang="en-US" altLang="zh-TW" dirty="0">
              <a:solidFill>
                <a:srgbClr val="70001D"/>
              </a:solidFill>
            </a:endParaRPr>
          </a:p>
        </p:txBody>
      </p:sp>
      <p:pic>
        <p:nvPicPr>
          <p:cNvPr id="19461" name="圖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288" y="0"/>
            <a:ext cx="1295400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文字方塊 2"/>
          <p:cNvSpPr txBox="1"/>
          <p:nvPr/>
        </p:nvSpPr>
        <p:spPr>
          <a:xfrm>
            <a:off x="2233613" y="1870075"/>
            <a:ext cx="4084637" cy="831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zh-TW" altLang="en-US" sz="4800" b="1" dirty="0">
                <a:solidFill>
                  <a:schemeClr val="bg2">
                    <a:lumMod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第一部分</a:t>
            </a:r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8697" y="6425331"/>
            <a:ext cx="1213165" cy="24014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4" name="圖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64" t="6598" r="5464" b="11615"/>
          <a:stretch>
            <a:fillRect/>
          </a:stretch>
        </p:blipFill>
        <p:spPr bwMode="auto">
          <a:xfrm rot="987121">
            <a:off x="7250113" y="-49213"/>
            <a:ext cx="1765300" cy="1619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0" y="605306"/>
            <a:ext cx="9144000" cy="978795"/>
          </a:xfrm>
        </p:spPr>
        <p:txBody>
          <a:bodyPr rtlCol="0">
            <a:normAutofit fontScale="9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時間規劃</a:t>
            </a:r>
            <a:br>
              <a:rPr lang="en-US" altLang="zh-TW" sz="3200" b="1" spc="400" dirty="0">
                <a:solidFill>
                  <a:srgbClr val="00B0F0"/>
                </a:solidFill>
                <a:latin typeface="微軟正黑體" pitchFamily="34" charset="-120"/>
                <a:ea typeface="微軟正黑體" pitchFamily="34" charset="-120"/>
                <a:cs typeface="+mn-cs"/>
              </a:rPr>
            </a:br>
            <a:endParaRPr lang="zh-TW" altLang="en-US" sz="3200" b="1" spc="400" dirty="0">
              <a:solidFill>
                <a:srgbClr val="00B0F0"/>
              </a:solidFill>
              <a:latin typeface="微軟正黑體" pitchFamily="34" charset="-120"/>
              <a:ea typeface="微軟正黑體" pitchFamily="34" charset="-120"/>
              <a:cs typeface="+mn-cs"/>
            </a:endParaRPr>
          </a:p>
        </p:txBody>
      </p:sp>
      <p:sp>
        <p:nvSpPr>
          <p:cNvPr id="54278" name="投影片編號版面配置區 3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B6C55282-D15D-4B25-B2F4-47E5427360CF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30</a:t>
            </a:fld>
            <a:endParaRPr lang="zh-TW" altLang="en-US" sz="1200">
              <a:solidFill>
                <a:srgbClr val="898989"/>
              </a:solidFill>
            </a:endParaRPr>
          </a:p>
        </p:txBody>
      </p:sp>
      <p:graphicFrame>
        <p:nvGraphicFramePr>
          <p:cNvPr id="6" name="表格 5"/>
          <p:cNvGraphicFramePr>
            <a:graphicFrameLocks noGrp="1"/>
          </p:cNvGraphicFramePr>
          <p:nvPr/>
        </p:nvGraphicFramePr>
        <p:xfrm>
          <a:off x="447667" y="1191885"/>
          <a:ext cx="8000593" cy="49393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19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7281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6531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6166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4488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35147">
                <a:tc gridSpan="2"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教育階段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學習節數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/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學分數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備註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9711">
                <a:tc gridSpan="2"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國小</a:t>
                      </a:r>
                      <a:endParaRPr lang="en-US" altLang="zh-TW" sz="18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  <a:p>
                      <a:pPr algn="ctr"/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(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社會領域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)</a:t>
                      </a:r>
                      <a:endParaRPr lang="zh-TW" altLang="en-US" sz="18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3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節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/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週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中、高年級開課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91953">
                <a:tc gridSpan="2"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國中</a:t>
                      </a:r>
                      <a:endParaRPr lang="en-US" altLang="zh-TW" sz="18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  <a:p>
                      <a:pPr algn="ctr"/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(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史地公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)</a:t>
                      </a:r>
                      <a:endParaRPr lang="zh-TW" altLang="en-US" sz="18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3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節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/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週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可彈性採取領域或分科教學</a:t>
                      </a:r>
                      <a:endParaRPr lang="en-US" altLang="zh-TW" sz="18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六學期中每科可採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0-2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節方式規劃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624367">
                <a:tc rowSpan="4"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高中</a:t>
                      </a:r>
                      <a:endParaRPr lang="en-US" altLang="zh-TW" sz="18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  <a:p>
                      <a:pPr algn="ctr"/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(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史地公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)</a:t>
                      </a:r>
                      <a:endParaRPr lang="zh-TW" altLang="en-US" sz="18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>
                    <a:lnR w="12700" cmpd="sng">
                      <a:noFill/>
                    </a:lnR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普通型</a:t>
                      </a:r>
                    </a:p>
                  </a:txBody>
                  <a:tcPr anchor="ctr">
                    <a:lnL w="12700" cmpd="sng">
                      <a:noFill/>
                    </a:lnL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必修</a:t>
                      </a:r>
                    </a:p>
                  </a:txBody>
                  <a:tcPr anchor="ctr">
                    <a:lnR w="12700" cmpd="sng">
                      <a:noFill/>
                    </a:lnR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各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6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學分</a:t>
                      </a:r>
                    </a:p>
                  </a:txBody>
                  <a:tcPr anchor="ctr">
                    <a:lnL w="12700" cmpd="sng">
                      <a:noFill/>
                    </a:lnL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建議一學期配置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4-6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學分</a:t>
                      </a:r>
                      <a:endParaRPr lang="en-US" altLang="zh-TW" sz="18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所開設科目每科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2-3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學分</a:t>
                      </a:r>
                    </a:p>
                  </a:txBody>
                  <a:tcPr anchor="ctr"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5147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選修</a:t>
                      </a:r>
                    </a:p>
                  </a:txBody>
                  <a:tcPr anchor="ctr"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各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8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學分</a:t>
                      </a:r>
                    </a:p>
                  </a:txBody>
                  <a:tcPr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建議高二、高三實施</a:t>
                      </a:r>
                    </a:p>
                  </a:txBody>
                  <a:tcPr anchor="ctr"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69873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綜合型</a:t>
                      </a:r>
                      <a:endParaRPr lang="en-US" altLang="zh-TW" sz="18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>
                    <a:lnL w="12700" cmpd="sng">
                      <a:noFill/>
                    </a:lnL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各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2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學分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(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選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2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科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)</a:t>
                      </a:r>
                    </a:p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共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4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學分</a:t>
                      </a:r>
                    </a:p>
                  </a:txBody>
                  <a:tcPr anchor="ctr"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zh-TW" altLang="en-US" sz="18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</a:txBody>
                  <a:tcPr anchor="ctr">
                    <a:lnT w="12700" cmpd="sng">
                      <a:noFill/>
                    </a:lnT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04603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技術型</a:t>
                      </a:r>
                    </a:p>
                  </a:txBody>
                  <a:tcPr anchor="ctr">
                    <a:lnL w="12700" cmpd="sng">
                      <a:noFill/>
                    </a:lnL>
                    <a:lnT w="12700" cmpd="sng">
                      <a:noFill/>
                    </a:lnT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至少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2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科</a:t>
                      </a:r>
                      <a:endParaRPr lang="en-US" altLang="zh-TW" sz="1800" dirty="0">
                        <a:latin typeface="微軟正黑體" pitchFamily="34" charset="-120"/>
                        <a:ea typeface="微軟正黑體" pitchFamily="34" charset="-120"/>
                      </a:endParaRPr>
                    </a:p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共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6-10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學分</a:t>
                      </a:r>
                    </a:p>
                  </a:txBody>
                  <a:tcPr anchor="ctr">
                    <a:lnT w="12700" cmpd="sng">
                      <a:noFill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另規劃跨科之統整型、探究型或實作型之「社會探究與實作」課程</a:t>
                      </a:r>
                      <a:r>
                        <a:rPr lang="en-US" altLang="zh-TW" sz="1800" dirty="0">
                          <a:latin typeface="微軟正黑體" pitchFamily="34" charset="-120"/>
                          <a:ea typeface="微軟正黑體" pitchFamily="34" charset="-120"/>
                        </a:rPr>
                        <a:t>2</a:t>
                      </a:r>
                      <a:r>
                        <a:rPr lang="zh-TW" altLang="en-US" sz="1800" dirty="0">
                          <a:latin typeface="微軟正黑體" pitchFamily="34" charset="-120"/>
                          <a:ea typeface="微軟正黑體" pitchFamily="34" charset="-120"/>
                        </a:rPr>
                        <a:t>學分。</a:t>
                      </a:r>
                    </a:p>
                  </a:txBody>
                  <a:tcPr anchor="ctr">
                    <a:lnT w="12700" cmpd="sng"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圖片 13" descr="課程架構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37018" y="620688"/>
            <a:ext cx="5327862" cy="6237312"/>
          </a:xfrm>
          <a:prstGeom prst="rect">
            <a:avLst/>
          </a:prstGeom>
        </p:spPr>
      </p:pic>
      <p:cxnSp>
        <p:nvCxnSpPr>
          <p:cNvPr id="22" name="直線接點 21"/>
          <p:cNvCxnSpPr/>
          <p:nvPr/>
        </p:nvCxnSpPr>
        <p:spPr>
          <a:xfrm flipH="1">
            <a:off x="1317356" y="2132856"/>
            <a:ext cx="14284" cy="1369761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文字方塊 4"/>
          <p:cNvSpPr txBox="1">
            <a:spLocks noChangeArrowheads="1"/>
          </p:cNvSpPr>
          <p:nvPr/>
        </p:nvSpPr>
        <p:spPr bwMode="auto">
          <a:xfrm>
            <a:off x="0" y="0"/>
            <a:ext cx="914400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zh-TW" altLang="en-US" sz="32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課程架構</a:t>
            </a:r>
          </a:p>
        </p:txBody>
      </p:sp>
      <p:sp>
        <p:nvSpPr>
          <p:cNvPr id="8" name="向右箭號圖說文字 7"/>
          <p:cNvSpPr/>
          <p:nvPr/>
        </p:nvSpPr>
        <p:spPr>
          <a:xfrm>
            <a:off x="323528" y="908720"/>
            <a:ext cx="2952328" cy="1224136"/>
          </a:xfrm>
          <a:prstGeom prst="rightArrowCallout">
            <a:avLst/>
          </a:prstGeom>
          <a:solidFill>
            <a:schemeClr val="accent5">
              <a:lumMod val="60000"/>
              <a:lumOff val="40000"/>
              <a:alpha val="4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9" name="文字方塊 8"/>
          <p:cNvSpPr txBox="1"/>
          <p:nvPr/>
        </p:nvSpPr>
        <p:spPr>
          <a:xfrm>
            <a:off x="467544" y="1052736"/>
            <a:ext cx="15841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b="1" dirty="0">
                <a:latin typeface="微軟正黑體" pitchFamily="34" charset="-120"/>
                <a:ea typeface="微軟正黑體" pitchFamily="34" charset="-120"/>
              </a:rPr>
              <a:t>學習表現</a:t>
            </a:r>
            <a:endParaRPr lang="en-US" altLang="zh-TW" b="1" dirty="0">
              <a:latin typeface="微軟正黑體" pitchFamily="34" charset="-120"/>
              <a:ea typeface="微軟正黑體" pitchFamily="34" charset="-120"/>
            </a:endParaRPr>
          </a:p>
          <a:p>
            <a:pPr algn="ctr"/>
            <a:r>
              <a:rPr lang="zh-TW" altLang="en-US" b="1" dirty="0">
                <a:latin typeface="微軟正黑體" pitchFamily="34" charset="-120"/>
                <a:ea typeface="微軟正黑體" pitchFamily="34" charset="-120"/>
              </a:rPr>
              <a:t>學習內容</a:t>
            </a:r>
            <a:endParaRPr lang="en-US" altLang="zh-TW" b="1" dirty="0">
              <a:latin typeface="微軟正黑體" pitchFamily="34" charset="-120"/>
              <a:ea typeface="微軟正黑體" pitchFamily="34" charset="-120"/>
            </a:endParaRPr>
          </a:p>
          <a:p>
            <a:pPr algn="ctr"/>
            <a:r>
              <a:rPr lang="zh-TW" altLang="en-US" dirty="0">
                <a:latin typeface="微軟正黑體" pitchFamily="34" charset="-120"/>
                <a:ea typeface="微軟正黑體" pitchFamily="34" charset="-120"/>
              </a:rPr>
              <a:t>分科設計</a:t>
            </a:r>
          </a:p>
        </p:txBody>
      </p:sp>
      <p:sp>
        <p:nvSpPr>
          <p:cNvPr id="10" name="向右箭號圖說文字 9"/>
          <p:cNvSpPr/>
          <p:nvPr/>
        </p:nvSpPr>
        <p:spPr>
          <a:xfrm>
            <a:off x="395536" y="3501008"/>
            <a:ext cx="2952328" cy="1296144"/>
          </a:xfrm>
          <a:prstGeom prst="rightArrowCallout">
            <a:avLst/>
          </a:prstGeom>
          <a:solidFill>
            <a:srgbClr val="92D050">
              <a:alpha val="45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1" name="文字方塊 10"/>
          <p:cNvSpPr txBox="1"/>
          <p:nvPr/>
        </p:nvSpPr>
        <p:spPr>
          <a:xfrm>
            <a:off x="395536" y="3717032"/>
            <a:ext cx="187220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b="1" dirty="0">
                <a:latin typeface="微軟正黑體" pitchFamily="34" charset="-120"/>
                <a:ea typeface="微軟正黑體" pitchFamily="34" charset="-120"/>
              </a:rPr>
              <a:t>學習表現</a:t>
            </a:r>
            <a:r>
              <a:rPr lang="zh-TW" altLang="en-US" dirty="0">
                <a:latin typeface="微軟正黑體" pitchFamily="34" charset="-120"/>
                <a:ea typeface="微軟正黑體" pitchFamily="34" charset="-120"/>
              </a:rPr>
              <a:t>：分科、領域共同條目</a:t>
            </a:r>
            <a:endParaRPr lang="en-US" altLang="zh-TW" dirty="0">
              <a:latin typeface="微軟正黑體" pitchFamily="34" charset="-120"/>
              <a:ea typeface="微軟正黑體" pitchFamily="34" charset="-120"/>
            </a:endParaRPr>
          </a:p>
          <a:p>
            <a:r>
              <a:rPr lang="zh-TW" altLang="en-US" b="1" dirty="0">
                <a:latin typeface="微軟正黑體" pitchFamily="34" charset="-120"/>
                <a:ea typeface="微軟正黑體" pitchFamily="34" charset="-120"/>
              </a:rPr>
              <a:t>學習內容</a:t>
            </a:r>
            <a:r>
              <a:rPr lang="zh-TW" altLang="en-US" dirty="0">
                <a:latin typeface="微軟正黑體" pitchFamily="34" charset="-120"/>
                <a:ea typeface="微軟正黑體" pitchFamily="34" charset="-120"/>
              </a:rPr>
              <a:t>：分科</a:t>
            </a:r>
            <a:endParaRPr lang="en-US" altLang="zh-TW" dirty="0"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2" name="向右箭號圖說文字 11"/>
          <p:cNvSpPr/>
          <p:nvPr/>
        </p:nvSpPr>
        <p:spPr>
          <a:xfrm>
            <a:off x="395536" y="5157192"/>
            <a:ext cx="2952328" cy="1224136"/>
          </a:xfrm>
          <a:prstGeom prst="rightArrowCallout">
            <a:avLst/>
          </a:prstGeom>
          <a:solidFill>
            <a:srgbClr val="FFFF00">
              <a:alpha val="45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3" name="文字方塊 12"/>
          <p:cNvSpPr txBox="1"/>
          <p:nvPr/>
        </p:nvSpPr>
        <p:spPr>
          <a:xfrm>
            <a:off x="539552" y="5301208"/>
            <a:ext cx="15841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b="1" dirty="0">
                <a:latin typeface="微軟正黑體" pitchFamily="34" charset="-120"/>
                <a:ea typeface="微軟正黑體" pitchFamily="34" charset="-120"/>
              </a:rPr>
              <a:t>學習表現</a:t>
            </a:r>
            <a:endParaRPr lang="en-US" altLang="zh-TW" b="1" dirty="0">
              <a:latin typeface="微軟正黑體" pitchFamily="34" charset="-120"/>
              <a:ea typeface="微軟正黑體" pitchFamily="34" charset="-120"/>
            </a:endParaRPr>
          </a:p>
          <a:p>
            <a:pPr algn="ctr"/>
            <a:r>
              <a:rPr lang="zh-TW" altLang="en-US" b="1" dirty="0">
                <a:latin typeface="微軟正黑體" pitchFamily="34" charset="-120"/>
                <a:ea typeface="微軟正黑體" pitchFamily="34" charset="-120"/>
              </a:rPr>
              <a:t>學習內容</a:t>
            </a:r>
            <a:endParaRPr lang="en-US" altLang="zh-TW" b="1" dirty="0">
              <a:latin typeface="微軟正黑體" pitchFamily="34" charset="-120"/>
              <a:ea typeface="微軟正黑體" pitchFamily="34" charset="-120"/>
            </a:endParaRPr>
          </a:p>
          <a:p>
            <a:pPr algn="ctr"/>
            <a:r>
              <a:rPr lang="zh-TW" altLang="en-US" dirty="0">
                <a:latin typeface="微軟正黑體" pitchFamily="34" charset="-120"/>
                <a:ea typeface="微軟正黑體" pitchFamily="34" charset="-120"/>
              </a:rPr>
              <a:t>領域統整設計</a:t>
            </a:r>
          </a:p>
        </p:txBody>
      </p:sp>
      <p:sp>
        <p:nvSpPr>
          <p:cNvPr id="17" name="圓角矩形 16"/>
          <p:cNvSpPr/>
          <p:nvPr/>
        </p:nvSpPr>
        <p:spPr>
          <a:xfrm>
            <a:off x="320441" y="2282060"/>
            <a:ext cx="2592288" cy="864096"/>
          </a:xfrm>
          <a:prstGeom prst="roundRect">
            <a:avLst/>
          </a:prstGeom>
          <a:solidFill>
            <a:schemeClr val="accent5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8" name="文字方塊 17"/>
          <p:cNvSpPr txBox="1"/>
          <p:nvPr/>
        </p:nvSpPr>
        <p:spPr>
          <a:xfrm>
            <a:off x="1115616" y="2420888"/>
            <a:ext cx="17281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TW" altLang="en-US" sz="1600" b="1" dirty="0">
                <a:latin typeface="微軟正黑體" pitchFamily="34" charset="-120"/>
                <a:ea typeface="微軟正黑體" pitchFamily="34" charset="-120"/>
              </a:rPr>
              <a:t>探究與實作課程</a:t>
            </a:r>
            <a:endParaRPr lang="en-US" altLang="zh-TW" sz="1600" b="1" dirty="0">
              <a:latin typeface="微軟正黑體" pitchFamily="34" charset="-120"/>
              <a:ea typeface="微軟正黑體" pitchFamily="34" charset="-120"/>
            </a:endParaRPr>
          </a:p>
          <a:p>
            <a:pPr algn="ctr"/>
            <a:r>
              <a:rPr lang="zh-TW" altLang="en-US" sz="1600" b="1" dirty="0">
                <a:solidFill>
                  <a:srgbClr val="002060"/>
                </a:solidFill>
                <a:latin typeface="微軟正黑體" pitchFamily="34" charset="-120"/>
                <a:ea typeface="微軟正黑體" pitchFamily="34" charset="-120"/>
              </a:rPr>
              <a:t>多元的探究學習</a:t>
            </a:r>
          </a:p>
        </p:txBody>
      </p:sp>
      <p:sp>
        <p:nvSpPr>
          <p:cNvPr id="24" name="文字方塊 23"/>
          <p:cNvSpPr txBox="1"/>
          <p:nvPr/>
        </p:nvSpPr>
        <p:spPr>
          <a:xfrm>
            <a:off x="493319" y="2425124"/>
            <a:ext cx="648072" cy="646331"/>
          </a:xfrm>
          <a:prstGeom prst="rect">
            <a:avLst/>
          </a:prstGeom>
          <a:solidFill>
            <a:srgbClr val="00B0F0"/>
          </a:solidFill>
        </p:spPr>
        <p:txBody>
          <a:bodyPr wrap="square" rtlCol="0">
            <a:spAutoFit/>
          </a:bodyPr>
          <a:lstStyle/>
          <a:p>
            <a:r>
              <a:rPr lang="zh-TW" altLang="en-US" dirty="0">
                <a:latin typeface="微軟正黑體" pitchFamily="34" charset="-120"/>
                <a:ea typeface="微軟正黑體" pitchFamily="34" charset="-120"/>
              </a:rPr>
              <a:t>分科</a:t>
            </a:r>
            <a:endParaRPr lang="en-US" altLang="zh-TW" dirty="0">
              <a:latin typeface="微軟正黑體" pitchFamily="34" charset="-120"/>
              <a:ea typeface="微軟正黑體" pitchFamily="34" charset="-120"/>
            </a:endParaRPr>
          </a:p>
          <a:p>
            <a:r>
              <a:rPr lang="zh-TW" altLang="en-US" dirty="0">
                <a:latin typeface="微軟正黑體" pitchFamily="34" charset="-120"/>
                <a:ea typeface="微軟正黑體" pitchFamily="34" charset="-120"/>
              </a:rPr>
              <a:t>統整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/>
      <p:bldP spid="10" grpId="0" animBg="1"/>
      <p:bldP spid="11" grpId="0"/>
      <p:bldP spid="12" grpId="0" animBg="1"/>
      <p:bldP spid="13" grpId="0"/>
      <p:bldP spid="17" grpId="0" animBg="1"/>
      <p:bldP spid="18" grpId="0"/>
      <p:bldP spid="24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標題 55"/>
          <p:cNvSpPr txBox="1">
            <a:spLocks/>
          </p:cNvSpPr>
          <p:nvPr/>
        </p:nvSpPr>
        <p:spPr>
          <a:xfrm>
            <a:off x="0" y="254523"/>
            <a:ext cx="9144000" cy="720080"/>
          </a:xfrm>
          <a:prstGeom prst="rect">
            <a:avLst/>
          </a:prstGeom>
          <a:noFill/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學習表現架構</a:t>
            </a:r>
          </a:p>
        </p:txBody>
      </p:sp>
      <p:sp>
        <p:nvSpPr>
          <p:cNvPr id="10" name="內容版面配置區 9"/>
          <p:cNvSpPr>
            <a:spLocks noGrp="1"/>
          </p:cNvSpPr>
          <p:nvPr>
            <p:ph idx="1"/>
          </p:nvPr>
        </p:nvSpPr>
        <p:spPr>
          <a:xfrm>
            <a:off x="425513" y="1196752"/>
            <a:ext cx="8329187" cy="4980211"/>
          </a:xfrm>
        </p:spPr>
        <p:txBody>
          <a:bodyPr>
            <a:normAutofit/>
          </a:bodyPr>
          <a:lstStyle/>
          <a:p>
            <a:pPr algn="just">
              <a:lnSpc>
                <a:spcPts val="3500"/>
              </a:lnSpc>
            </a:pPr>
            <a:r>
              <a:rPr lang="zh-TW" altLang="en-US" sz="2400" dirty="0">
                <a:latin typeface="Times New Roman" panose="02020603050405020304" pitchFamily="18" charset="0"/>
                <a:ea typeface="標楷體" pitchFamily="65" charset="-120"/>
              </a:rPr>
              <a:t>社會領域的「學習表現」包含認知歷程、情意態度與技能行動等三面向，以「理解及思辨」、「態度及價值」和「實作及參與」做為領域的共同架構，再依各教育階段及領域</a:t>
            </a:r>
            <a:r>
              <a:rPr lang="en-US" altLang="zh-TW" sz="2400" dirty="0">
                <a:latin typeface="Times New Roman" panose="02020603050405020304" pitchFamily="18" charset="0"/>
                <a:ea typeface="標楷體" pitchFamily="65" charset="-120"/>
              </a:rPr>
              <a:t>/</a:t>
            </a:r>
            <a:r>
              <a:rPr lang="zh-TW" altLang="en-US" sz="2400" dirty="0">
                <a:latin typeface="Times New Roman" panose="02020603050405020304" pitchFamily="18" charset="0"/>
                <a:ea typeface="標楷體" pitchFamily="65" charset="-120"/>
              </a:rPr>
              <a:t>科目的特性，加以展現。社會領域學習表現的構面及項目共同架構如下：</a:t>
            </a:r>
            <a:endParaRPr lang="en-US" altLang="zh-TW" sz="2400" dirty="0">
              <a:latin typeface="Times New Roman" panose="02020603050405020304" pitchFamily="18" charset="0"/>
              <a:ea typeface="標楷體" pitchFamily="65" charset="-120"/>
            </a:endParaRPr>
          </a:p>
          <a:p>
            <a:pPr algn="just"/>
            <a:endParaRPr lang="zh-TW" altLang="en-US" sz="2400" dirty="0">
              <a:latin typeface="Times New Roman" panose="02020603050405020304" pitchFamily="18" charset="0"/>
              <a:ea typeface="標楷體" pitchFamily="65" charset="-120"/>
            </a:endParaRPr>
          </a:p>
        </p:txBody>
      </p:sp>
      <p:graphicFrame>
        <p:nvGraphicFramePr>
          <p:cNvPr id="11" name="表格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7799996"/>
              </p:ext>
            </p:extLst>
          </p:nvPr>
        </p:nvGraphicFramePr>
        <p:xfrm>
          <a:off x="683568" y="3645024"/>
          <a:ext cx="8017044" cy="19852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825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536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7135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83378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298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構面</a:t>
                      </a:r>
                      <a:endParaRPr lang="zh-TW" sz="2000" kern="100" baseline="0" dirty="0">
                        <a:latin typeface="Times New Roman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1.</a:t>
                      </a:r>
                      <a:r>
                        <a:rPr lang="zh-TW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理解及思辨</a:t>
                      </a:r>
                      <a:endParaRPr lang="zh-TW" sz="2000" kern="100" baseline="0" dirty="0">
                        <a:latin typeface="Times New Roman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2.</a:t>
                      </a:r>
                      <a:r>
                        <a:rPr lang="zh-TW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態度及價值</a:t>
                      </a:r>
                      <a:endParaRPr lang="zh-TW" sz="2000" kern="100" baseline="0" dirty="0">
                        <a:latin typeface="Times New Roman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3.</a:t>
                      </a:r>
                      <a:r>
                        <a:rPr lang="zh-TW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 實作及參與</a:t>
                      </a:r>
                      <a:endParaRPr lang="zh-TW" sz="2000" kern="100" baseline="0" dirty="0">
                        <a:latin typeface="Times New Roman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5539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項目</a:t>
                      </a:r>
                      <a:endParaRPr lang="zh-TW" sz="2000" kern="100" baseline="0" dirty="0">
                        <a:latin typeface="Times New Roman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a.</a:t>
                      </a:r>
                      <a:r>
                        <a:rPr lang="zh-TW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覺察說明</a:t>
                      </a:r>
                      <a:endParaRPr lang="zh-TW" sz="2000" kern="100" baseline="0" dirty="0">
                        <a:latin typeface="Times New Roman"/>
                        <a:ea typeface="新細明體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b.</a:t>
                      </a:r>
                      <a:r>
                        <a:rPr lang="zh-TW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分析詮釋</a:t>
                      </a:r>
                      <a:endParaRPr lang="zh-TW" sz="2000" kern="100" baseline="0" dirty="0">
                        <a:latin typeface="Times New Roman"/>
                        <a:ea typeface="新細明體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c.</a:t>
                      </a:r>
                      <a:r>
                        <a:rPr lang="zh-TW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判斷創新</a:t>
                      </a:r>
                      <a:endParaRPr lang="zh-TW" sz="2000" kern="100" baseline="0" dirty="0">
                        <a:latin typeface="Times New Roman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a.</a:t>
                      </a:r>
                      <a:r>
                        <a:rPr lang="zh-TW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敏覺關懷</a:t>
                      </a:r>
                      <a:endParaRPr lang="zh-TW" sz="2000" kern="100" baseline="0" dirty="0">
                        <a:latin typeface="Times New Roman"/>
                        <a:ea typeface="新細明體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b.</a:t>
                      </a:r>
                      <a:r>
                        <a:rPr lang="zh-TW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同理尊重</a:t>
                      </a:r>
                      <a:endParaRPr lang="zh-TW" sz="2000" kern="100" baseline="0" dirty="0">
                        <a:latin typeface="Times New Roman"/>
                        <a:ea typeface="新細明體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c.</a:t>
                      </a:r>
                      <a:r>
                        <a:rPr lang="zh-TW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自省珍視</a:t>
                      </a:r>
                      <a:endParaRPr lang="zh-TW" sz="2000" kern="100" baseline="0" dirty="0">
                        <a:latin typeface="Times New Roman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TW" alt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　</a:t>
                      </a:r>
                      <a:r>
                        <a:rPr 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a.</a:t>
                      </a:r>
                      <a:r>
                        <a:rPr lang="zh-TW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問題發現</a:t>
                      </a:r>
                      <a:endParaRPr lang="zh-TW" sz="2000" kern="100" baseline="0" dirty="0">
                        <a:latin typeface="Times New Roman"/>
                        <a:ea typeface="新細明體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zh-TW" alt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　</a:t>
                      </a:r>
                      <a:r>
                        <a:rPr 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b.</a:t>
                      </a:r>
                      <a:r>
                        <a:rPr lang="zh-TW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資料蒐整與應用</a:t>
                      </a:r>
                      <a:endParaRPr lang="zh-TW" sz="2000" kern="100" baseline="0" dirty="0">
                        <a:latin typeface="Times New Roman"/>
                        <a:ea typeface="新細明體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zh-TW" alt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　</a:t>
                      </a:r>
                      <a:r>
                        <a:rPr 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c.</a:t>
                      </a:r>
                      <a:r>
                        <a:rPr lang="zh-TW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溝通合作</a:t>
                      </a:r>
                      <a:endParaRPr lang="zh-TW" sz="2000" kern="100" baseline="0" dirty="0">
                        <a:latin typeface="Times New Roman"/>
                        <a:ea typeface="新細明體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zh-TW" alt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　</a:t>
                      </a:r>
                      <a:r>
                        <a:rPr lang="en-US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d.</a:t>
                      </a:r>
                      <a:r>
                        <a:rPr lang="zh-TW" sz="2000" kern="100" baseline="0" dirty="0">
                          <a:latin typeface="Times New Roman"/>
                          <a:ea typeface="標楷體"/>
                          <a:cs typeface="Times New Roman"/>
                        </a:rPr>
                        <a:t>規劃執行</a:t>
                      </a:r>
                      <a:endParaRPr lang="zh-TW" sz="2000" kern="100" baseline="0" dirty="0">
                        <a:latin typeface="Times New Roman"/>
                        <a:ea typeface="新細明體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88965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標題 55"/>
          <p:cNvSpPr txBox="1">
            <a:spLocks/>
          </p:cNvSpPr>
          <p:nvPr/>
        </p:nvSpPr>
        <p:spPr>
          <a:xfrm>
            <a:off x="0" y="294279"/>
            <a:ext cx="9144000" cy="720080"/>
          </a:xfrm>
          <a:prstGeom prst="rect">
            <a:avLst/>
          </a:prstGeom>
          <a:noFill/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學習內容架構</a:t>
            </a:r>
          </a:p>
        </p:txBody>
      </p:sp>
      <p:pic>
        <p:nvPicPr>
          <p:cNvPr id="4" name="圖片 3" descr="學習內容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1524000"/>
            <a:ext cx="9130002" cy="4404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8965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395536" y="1556792"/>
            <a:ext cx="4176464" cy="4464496"/>
          </a:xfrm>
        </p:spPr>
        <p:txBody>
          <a:bodyPr>
            <a:noAutofit/>
          </a:bodyPr>
          <a:lstStyle/>
          <a:p>
            <a:pPr>
              <a:lnSpc>
                <a:spcPts val="3500"/>
              </a:lnSpc>
              <a:spcBef>
                <a:spcPts val="600"/>
              </a:spcBef>
            </a:pPr>
            <a:r>
              <a:rPr lang="zh-TW" altLang="zh-TW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從學生熟悉的家庭、學校、社區及臺灣等生活範疇出發</a:t>
            </a:r>
            <a:r>
              <a:rPr lang="zh-TW" altLang="en-US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。</a:t>
            </a:r>
            <a:endParaRPr lang="en-US" altLang="zh-TW" sz="28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  <a:p>
            <a:pPr>
              <a:lnSpc>
                <a:spcPts val="3500"/>
              </a:lnSpc>
              <a:spcBef>
                <a:spcPts val="600"/>
              </a:spcBef>
            </a:pPr>
            <a:r>
              <a:rPr lang="zh-TW" altLang="zh-TW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擴及</a:t>
            </a:r>
            <a:r>
              <a:rPr lang="zh-TW" altLang="en-US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與學生生活和學習</a:t>
            </a:r>
            <a:r>
              <a:rPr lang="zh-TW" altLang="zh-TW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相關的國際議題</a:t>
            </a:r>
            <a:r>
              <a:rPr lang="zh-TW" altLang="en-US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。</a:t>
            </a:r>
            <a:endParaRPr lang="en-US" altLang="zh-TW" sz="28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  <a:p>
            <a:pPr>
              <a:lnSpc>
                <a:spcPts val="3500"/>
              </a:lnSpc>
              <a:spcBef>
                <a:spcPts val="600"/>
              </a:spcBef>
            </a:pPr>
            <a:r>
              <a:rPr lang="zh-TW" altLang="zh-TW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整</a:t>
            </a:r>
            <a:r>
              <a:rPr lang="zh-TW" altLang="en-US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合</a:t>
            </a:r>
            <a:r>
              <a:rPr lang="zh-TW" altLang="zh-TW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歷史、地理、公民與社會的學科知識，</a:t>
            </a:r>
            <a:r>
              <a:rPr lang="zh-TW" altLang="en-US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形成統整</a:t>
            </a:r>
            <a:r>
              <a:rPr lang="zh-TW" altLang="zh-TW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性的課程</a:t>
            </a:r>
            <a:r>
              <a:rPr lang="zh-TW" altLang="en-US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內容架構</a:t>
            </a:r>
            <a:r>
              <a:rPr lang="zh-TW" altLang="zh-TW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。</a:t>
            </a:r>
          </a:p>
          <a:p>
            <a:pPr marL="0" indent="0">
              <a:spcBef>
                <a:spcPts val="1800"/>
              </a:spcBef>
              <a:buNone/>
            </a:pPr>
            <a:endParaRPr lang="zh-TW" altLang="en-US" sz="2800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47" t="50206" r="52241" b="21685"/>
          <a:stretch/>
        </p:blipFill>
        <p:spPr bwMode="auto">
          <a:xfrm>
            <a:off x="4935696" y="2032019"/>
            <a:ext cx="3688042" cy="350167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資料庫圖表 6"/>
          <p:cNvGraphicFramePr/>
          <p:nvPr>
            <p:extLst>
              <p:ext uri="{D42A27DB-BD31-4B8C-83A1-F6EECF244321}">
                <p14:modId xmlns:p14="http://schemas.microsoft.com/office/powerpoint/2010/main" val="1443675536"/>
              </p:ext>
            </p:extLst>
          </p:nvPr>
        </p:nvGraphicFramePr>
        <p:xfrm>
          <a:off x="0" y="0"/>
          <a:ext cx="9144000" cy="620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52163862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內容版面配置區 2"/>
          <p:cNvSpPr>
            <a:spLocks noGrp="1"/>
          </p:cNvSpPr>
          <p:nvPr>
            <p:ph idx="1"/>
          </p:nvPr>
        </p:nvSpPr>
        <p:spPr>
          <a:xfrm>
            <a:off x="539552" y="1052736"/>
            <a:ext cx="4464496" cy="5204513"/>
          </a:xfrm>
        </p:spPr>
        <p:txBody>
          <a:bodyPr>
            <a:noAutofit/>
          </a:bodyPr>
          <a:lstStyle/>
          <a:p>
            <a:pPr>
              <a:lnSpc>
                <a:spcPts val="3500"/>
              </a:lnSpc>
              <a:spcBef>
                <a:spcPts val="600"/>
              </a:spcBef>
            </a:pPr>
            <a:r>
              <a:rPr lang="zh-TW" altLang="zh-TW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以本領域相關學科知識的共通性質及重要內涵為基礎</a:t>
            </a:r>
            <a:r>
              <a:rPr lang="zh-TW" altLang="en-US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。</a:t>
            </a:r>
            <a:endParaRPr lang="en-US" altLang="zh-TW" sz="28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  <a:p>
            <a:pPr>
              <a:lnSpc>
                <a:spcPts val="3500"/>
              </a:lnSpc>
              <a:spcBef>
                <a:spcPts val="600"/>
              </a:spcBef>
            </a:pPr>
            <a:r>
              <a:rPr lang="zh-TW" altLang="zh-TW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綜整社會領域及其相關學門研究的發展趨勢</a:t>
            </a:r>
            <a:r>
              <a:rPr lang="zh-TW" altLang="en-US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。</a:t>
            </a:r>
            <a:endParaRPr lang="en-US" altLang="zh-TW" sz="2800" dirty="0">
              <a:latin typeface="Times New Roman" panose="02020603050405020304" pitchFamily="18" charset="0"/>
              <a:ea typeface="標楷體" panose="03000509000000000000" pitchFamily="65" charset="-120"/>
            </a:endParaRPr>
          </a:p>
          <a:p>
            <a:pPr>
              <a:lnSpc>
                <a:spcPts val="3500"/>
              </a:lnSpc>
              <a:spcBef>
                <a:spcPts val="600"/>
              </a:spcBef>
            </a:pPr>
            <a:r>
              <a:rPr lang="zh-TW" altLang="zh-TW" sz="2800" dirty="0">
                <a:latin typeface="Times New Roman" panose="02020603050405020304" pitchFamily="18" charset="0"/>
                <a:ea typeface="標楷體" panose="03000509000000000000" pitchFamily="65" charset="-120"/>
              </a:rPr>
              <a:t>融入人類社會重要價值概念，擇定「互動與關聯」、「差異與多元」、「變遷與因果」、「選擇與責任」四個主題軸做為主要內涵。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768" t="47459" r="31533" b="15734"/>
          <a:stretch/>
        </p:blipFill>
        <p:spPr bwMode="auto">
          <a:xfrm>
            <a:off x="5220072" y="1556792"/>
            <a:ext cx="3390056" cy="449068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資料庫圖表 9"/>
          <p:cNvGraphicFramePr/>
          <p:nvPr>
            <p:extLst>
              <p:ext uri="{D42A27DB-BD31-4B8C-83A1-F6EECF244321}">
                <p14:modId xmlns:p14="http://schemas.microsoft.com/office/powerpoint/2010/main" val="2676913976"/>
              </p:ext>
            </p:extLst>
          </p:nvPr>
        </p:nvGraphicFramePr>
        <p:xfrm>
          <a:off x="0" y="0"/>
          <a:ext cx="9144000" cy="620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3232076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橢圓 11"/>
          <p:cNvSpPr/>
          <p:nvPr/>
        </p:nvSpPr>
        <p:spPr>
          <a:xfrm>
            <a:off x="5139559" y="3578772"/>
            <a:ext cx="3389586" cy="3279228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pic>
        <p:nvPicPr>
          <p:cNvPr id="7" name="內容版面配置區 6" descr="歷史科架構.jpg"/>
          <p:cNvPicPr>
            <a:picLocks noGrp="1" noChangeAspect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>
          <a:xfrm>
            <a:off x="539552" y="4005064"/>
            <a:ext cx="3957145" cy="2582937"/>
          </a:xfrm>
        </p:spPr>
      </p:pic>
      <p:sp>
        <p:nvSpPr>
          <p:cNvPr id="8" name="文字方塊 7"/>
          <p:cNvSpPr txBox="1"/>
          <p:nvPr/>
        </p:nvSpPr>
        <p:spPr>
          <a:xfrm>
            <a:off x="395536" y="908720"/>
            <a:ext cx="8544911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2800" b="1" u="sng" dirty="0">
                <a:latin typeface="標楷體" pitchFamily="65" charset="-120"/>
                <a:ea typeface="標楷體" pitchFamily="65" charset="-120"/>
              </a:rPr>
              <a:t>國中</a:t>
            </a:r>
            <a:r>
              <a:rPr lang="zh-TW" altLang="en-US" sz="2800" dirty="0">
                <a:latin typeface="標楷體" pitchFamily="65" charset="-120"/>
                <a:ea typeface="標楷體" pitchFamily="65" charset="-120"/>
              </a:rPr>
              <a:t>的學習內容以建立對歷史的基本認識為目標，其特色包括：</a:t>
            </a:r>
          </a:p>
          <a:p>
            <a:pPr marL="725488" indent="-725488"/>
            <a:r>
              <a:rPr lang="zh-TW" altLang="en-US" sz="2800" dirty="0">
                <a:latin typeface="標楷體" pitchFamily="65" charset="-120"/>
                <a:ea typeface="標楷體" pitchFamily="65" charset="-120"/>
              </a:rPr>
              <a:t>一、由近及遠採分域架構，著重從不同地域、人群的互動及其影響探討歷史變遷。</a:t>
            </a:r>
          </a:p>
          <a:p>
            <a:pPr marL="725488" indent="-725488"/>
            <a:r>
              <a:rPr lang="zh-TW" altLang="en-US" sz="2800" dirty="0">
                <a:latin typeface="標楷體" pitchFamily="65" charset="-120"/>
                <a:ea typeface="標楷體" pitchFamily="65" charset="-120"/>
              </a:rPr>
              <a:t>二、略古詳今，採長時段通史設計，以減量課程，並協助掌握歷史變遷的大勢及當代世界的形成過程。</a:t>
            </a:r>
          </a:p>
        </p:txBody>
      </p:sp>
      <p:sp>
        <p:nvSpPr>
          <p:cNvPr id="9" name="橢圓 8"/>
          <p:cNvSpPr/>
          <p:nvPr/>
        </p:nvSpPr>
        <p:spPr>
          <a:xfrm>
            <a:off x="6258911" y="4130567"/>
            <a:ext cx="1198179" cy="1198178"/>
          </a:xfrm>
          <a:prstGeom prst="ellipse">
            <a:avLst/>
          </a:prstGeom>
          <a:noFill/>
          <a:ln>
            <a:solidFill>
              <a:schemeClr val="accent2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0" name="橢圓 9"/>
          <p:cNvSpPr/>
          <p:nvPr/>
        </p:nvSpPr>
        <p:spPr>
          <a:xfrm>
            <a:off x="6663558" y="4792718"/>
            <a:ext cx="1187670" cy="1192924"/>
          </a:xfrm>
          <a:prstGeom prst="ellipse">
            <a:avLst/>
          </a:prstGeom>
          <a:noFill/>
          <a:ln>
            <a:solidFill>
              <a:srgbClr val="0099F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1" name="橢圓 10"/>
          <p:cNvSpPr/>
          <p:nvPr/>
        </p:nvSpPr>
        <p:spPr>
          <a:xfrm>
            <a:off x="5864772" y="4818991"/>
            <a:ext cx="1192925" cy="1234967"/>
          </a:xfrm>
          <a:prstGeom prst="ellipse">
            <a:avLst/>
          </a:prstGeom>
          <a:noFill/>
          <a:ln>
            <a:solidFill>
              <a:schemeClr val="accent4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/>
          </a:p>
        </p:txBody>
      </p:sp>
      <p:sp>
        <p:nvSpPr>
          <p:cNvPr id="14" name="弧形向右箭號 13"/>
          <p:cNvSpPr/>
          <p:nvPr/>
        </p:nvSpPr>
        <p:spPr>
          <a:xfrm rot="1500000">
            <a:off x="5605207" y="4220924"/>
            <a:ext cx="364158" cy="1240042"/>
          </a:xfrm>
          <a:prstGeom prst="curvedRight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solidFill>
                <a:schemeClr val="tx1"/>
              </a:solidFill>
            </a:endParaRPr>
          </a:p>
        </p:txBody>
      </p:sp>
      <p:sp>
        <p:nvSpPr>
          <p:cNvPr id="15" name="弧形箭號 (上彎) 14"/>
          <p:cNvSpPr/>
          <p:nvPr/>
        </p:nvSpPr>
        <p:spPr>
          <a:xfrm rot="-7200000">
            <a:off x="7364195" y="4573282"/>
            <a:ext cx="1177320" cy="389761"/>
          </a:xfrm>
          <a:prstGeom prst="curvedUp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solidFill>
                <a:schemeClr val="tx1"/>
              </a:solidFill>
            </a:endParaRPr>
          </a:p>
        </p:txBody>
      </p:sp>
      <p:sp>
        <p:nvSpPr>
          <p:cNvPr id="16" name="弧形箭號 (上彎) 15"/>
          <p:cNvSpPr/>
          <p:nvPr/>
        </p:nvSpPr>
        <p:spPr>
          <a:xfrm>
            <a:off x="6353503" y="6211614"/>
            <a:ext cx="1182414" cy="299544"/>
          </a:xfrm>
          <a:prstGeom prst="curvedUp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TW" altLang="en-US">
              <a:solidFill>
                <a:schemeClr val="tx1"/>
              </a:solidFill>
            </a:endParaRPr>
          </a:p>
        </p:txBody>
      </p:sp>
      <p:graphicFrame>
        <p:nvGraphicFramePr>
          <p:cNvPr id="13" name="資料庫圖表 12"/>
          <p:cNvGraphicFramePr/>
          <p:nvPr>
            <p:extLst>
              <p:ext uri="{D42A27DB-BD31-4B8C-83A1-F6EECF244321}">
                <p14:modId xmlns:p14="http://schemas.microsoft.com/office/powerpoint/2010/main" val="2648650921"/>
              </p:ext>
            </p:extLst>
          </p:nvPr>
        </p:nvGraphicFramePr>
        <p:xfrm>
          <a:off x="0" y="0"/>
          <a:ext cx="9144000" cy="620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92260836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資料庫圖表 6"/>
          <p:cNvGraphicFramePr/>
          <p:nvPr>
            <p:extLst>
              <p:ext uri="{D42A27DB-BD31-4B8C-83A1-F6EECF244321}">
                <p14:modId xmlns:p14="http://schemas.microsoft.com/office/powerpoint/2010/main" val="1018990160"/>
              </p:ext>
            </p:extLst>
          </p:nvPr>
        </p:nvGraphicFramePr>
        <p:xfrm>
          <a:off x="0" y="0"/>
          <a:ext cx="9144000" cy="620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" name="圖片 5" descr="歷史科高中架構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154430" y="844867"/>
            <a:ext cx="6739890" cy="5517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60836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30" name="Object 2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Teardrop 33"/>
          <p:cNvSpPr/>
          <p:nvPr/>
        </p:nvSpPr>
        <p:spPr>
          <a:xfrm rot="7955400">
            <a:off x="998196" y="759747"/>
            <a:ext cx="1291878" cy="1291877"/>
          </a:xfrm>
          <a:prstGeom prst="teardrop">
            <a:avLst/>
          </a:prstGeom>
          <a:gradFill flip="none" rotWithShape="1">
            <a:gsLst>
              <a:gs pos="83000">
                <a:srgbClr val="5A930E"/>
              </a:gs>
              <a:gs pos="0">
                <a:srgbClr val="9BED17"/>
              </a:gs>
              <a:gs pos="100000">
                <a:srgbClr val="305808"/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Teardrop 46"/>
          <p:cNvSpPr/>
          <p:nvPr/>
        </p:nvSpPr>
        <p:spPr>
          <a:xfrm rot="7955400">
            <a:off x="3805865" y="735058"/>
            <a:ext cx="1291878" cy="1291878"/>
          </a:xfrm>
          <a:prstGeom prst="teardrop">
            <a:avLst/>
          </a:prstGeom>
          <a:gradFill flip="none" rotWithShape="1">
            <a:gsLst>
              <a:gs pos="81000">
                <a:srgbClr val="0E618F"/>
              </a:gs>
              <a:gs pos="0">
                <a:srgbClr val="00B0F0"/>
              </a:gs>
              <a:gs pos="100000">
                <a:srgbClr val="182848"/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9" name="Oval 38"/>
          <p:cNvSpPr/>
          <p:nvPr/>
        </p:nvSpPr>
        <p:spPr>
          <a:xfrm rot="668725">
            <a:off x="3809542" y="747618"/>
            <a:ext cx="1278435" cy="1278434"/>
          </a:xfrm>
          <a:prstGeom prst="ellipse">
            <a:avLst/>
          </a:prstGeom>
          <a:gradFill flip="none" rotWithShape="1">
            <a:gsLst>
              <a:gs pos="38000">
                <a:srgbClr val="E2E9F5">
                  <a:lumMod val="0"/>
                  <a:alpha val="0"/>
                </a:srgbClr>
              </a:gs>
              <a:gs pos="100000">
                <a:srgbClr val="0070C0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48" name="Oval 47"/>
          <p:cNvSpPr/>
          <p:nvPr/>
        </p:nvSpPr>
        <p:spPr>
          <a:xfrm>
            <a:off x="3809541" y="786437"/>
            <a:ext cx="1278435" cy="1278435"/>
          </a:xfrm>
          <a:prstGeom prst="ellipse">
            <a:avLst/>
          </a:prstGeom>
          <a:gradFill flip="none" rotWithShape="1">
            <a:gsLst>
              <a:gs pos="0">
                <a:srgbClr val="00B0F0">
                  <a:lumMod val="69000"/>
                  <a:lumOff val="31000"/>
                </a:srgb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2400" b="1" dirty="0">
                <a:latin typeface="標楷體" panose="03000509000000000000" pitchFamily="65" charset="-120"/>
                <a:ea typeface="標楷體" panose="03000509000000000000" pitchFamily="65" charset="-120"/>
                <a:cs typeface="Kaiti TC" charset="-120"/>
              </a:rPr>
              <a:t>區域特色</a:t>
            </a:r>
            <a:endParaRPr lang="en-GB" sz="2400" b="1" dirty="0">
              <a:latin typeface="標楷體" panose="03000509000000000000" pitchFamily="65" charset="-120"/>
              <a:ea typeface="標楷體" panose="03000509000000000000" pitchFamily="65" charset="-120"/>
              <a:cs typeface="Kaiti TC" charset="-120"/>
            </a:endParaRPr>
          </a:p>
        </p:txBody>
      </p:sp>
      <p:sp>
        <p:nvSpPr>
          <p:cNvPr id="63" name="Teardrop 62"/>
          <p:cNvSpPr/>
          <p:nvPr/>
        </p:nvSpPr>
        <p:spPr>
          <a:xfrm rot="7955400">
            <a:off x="6802666" y="735058"/>
            <a:ext cx="1291878" cy="1291878"/>
          </a:xfrm>
          <a:prstGeom prst="teardrop">
            <a:avLst/>
          </a:prstGeom>
          <a:gradFill flip="none" rotWithShape="1">
            <a:gsLst>
              <a:gs pos="77000">
                <a:srgbClr val="A90808"/>
              </a:gs>
              <a:gs pos="0">
                <a:srgbClr val="EF2525"/>
              </a:gs>
              <a:gs pos="100000">
                <a:srgbClr val="680000"/>
              </a:gs>
            </a:gsLst>
            <a:lin ang="3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Oval 37"/>
          <p:cNvSpPr/>
          <p:nvPr/>
        </p:nvSpPr>
        <p:spPr>
          <a:xfrm rot="668725">
            <a:off x="6851999" y="797615"/>
            <a:ext cx="1278435" cy="1278434"/>
          </a:xfrm>
          <a:prstGeom prst="ellipse">
            <a:avLst/>
          </a:prstGeom>
          <a:gradFill flip="none" rotWithShape="1">
            <a:gsLst>
              <a:gs pos="38000">
                <a:srgbClr val="E2E9F5">
                  <a:lumMod val="0"/>
                  <a:alpha val="0"/>
                </a:srgbClr>
              </a:gs>
              <a:gs pos="100000">
                <a:srgbClr val="C00000">
                  <a:alpha val="13000"/>
                </a:srgb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4" name="Oval 63"/>
          <p:cNvSpPr/>
          <p:nvPr/>
        </p:nvSpPr>
        <p:spPr>
          <a:xfrm>
            <a:off x="6811062" y="785108"/>
            <a:ext cx="1278435" cy="1278435"/>
          </a:xfrm>
          <a:prstGeom prst="ellipse">
            <a:avLst/>
          </a:prstGeom>
          <a:gradFill flip="none" rotWithShape="1">
            <a:gsLst>
              <a:gs pos="0">
                <a:srgbClr val="FF0000">
                  <a:lumMod val="67000"/>
                  <a:lumOff val="33000"/>
                </a:srgbClr>
              </a:gs>
              <a:gs pos="100000">
                <a:schemeClr val="accent1">
                  <a:tint val="23500"/>
                  <a:satMod val="160000"/>
                  <a:alpha val="0"/>
                </a:scheme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TW" altLang="en-US" sz="2400" b="1" dirty="0">
                <a:latin typeface="標楷體" panose="03000509000000000000" pitchFamily="65" charset="-120"/>
                <a:ea typeface="標楷體" panose="03000509000000000000" pitchFamily="65" charset="-120"/>
                <a:cs typeface="Kaiti TC" charset="-120"/>
              </a:rPr>
              <a:t>地理議題</a:t>
            </a:r>
            <a:endParaRPr lang="en-GB" sz="2400" b="1" dirty="0">
              <a:latin typeface="標楷體" panose="03000509000000000000" pitchFamily="65" charset="-120"/>
              <a:ea typeface="標楷體" panose="03000509000000000000" pitchFamily="65" charset="-120"/>
              <a:cs typeface="Kaiti TC" charset="-12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-11574" y="4272455"/>
            <a:ext cx="9155574" cy="258554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3" name="Group 7"/>
          <p:cNvGrpSpPr/>
          <p:nvPr/>
        </p:nvGrpSpPr>
        <p:grpSpPr>
          <a:xfrm>
            <a:off x="33916" y="2317895"/>
            <a:ext cx="3505200" cy="2867358"/>
            <a:chOff x="-133345" y="2678095"/>
            <a:chExt cx="3505200" cy="2867358"/>
          </a:xfrm>
        </p:grpSpPr>
        <p:sp>
          <p:nvSpPr>
            <p:cNvPr id="15" name="Oval 14"/>
            <p:cNvSpPr/>
            <p:nvPr/>
          </p:nvSpPr>
          <p:spPr>
            <a:xfrm rot="302816">
              <a:off x="100652" y="2678095"/>
              <a:ext cx="2867358" cy="28673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innerShdw blurRad="1270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grpSp>
          <p:nvGrpSpPr>
            <p:cNvPr id="5" name="Group 6"/>
            <p:cNvGrpSpPr/>
            <p:nvPr/>
          </p:nvGrpSpPr>
          <p:grpSpPr>
            <a:xfrm>
              <a:off x="-133345" y="3120779"/>
              <a:ext cx="3505200" cy="2337687"/>
              <a:chOff x="-133345" y="3120779"/>
              <a:chExt cx="3505200" cy="2337687"/>
            </a:xfrm>
          </p:grpSpPr>
          <p:sp>
            <p:nvSpPr>
              <p:cNvPr id="16" name="Rectangle 15"/>
              <p:cNvSpPr/>
              <p:nvPr/>
            </p:nvSpPr>
            <p:spPr>
              <a:xfrm>
                <a:off x="449687" y="3120779"/>
                <a:ext cx="2133600" cy="36941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4625" marR="0" lvl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2800" b="1" kern="0" dirty="0">
                    <a:solidFill>
                      <a:schemeClr val="accent6">
                        <a:lumMod val="50000"/>
                      </a:schemeClr>
                    </a:solidFill>
                    <a:latin typeface="標楷體" panose="03000509000000000000" pitchFamily="65" charset="-120"/>
                    <a:ea typeface="標楷體" panose="03000509000000000000" pitchFamily="65" charset="-120"/>
                    <a:cs typeface="Arial" pitchFamily="34" charset="0"/>
                  </a:rPr>
                  <a:t>環境系統</a:t>
                </a:r>
                <a:endParaRPr kumimoji="0" 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Arial" pitchFamily="34" charset="0"/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-133345" y="3714699"/>
                <a:ext cx="3505200" cy="1743767"/>
              </a:xfrm>
              <a:prstGeom prst="ellipse">
                <a:avLst/>
              </a:prstGeom>
              <a:noFill/>
              <a:ln w="127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t"/>
              <a:lstStyle/>
              <a:p>
                <a:pPr>
                  <a:defRPr/>
                </a:pPr>
                <a:r>
                  <a:rPr lang="zh-TW" altLang="en-US" kern="100" dirty="0">
                    <a:latin typeface="標楷體" panose="03000509000000000000" pitchFamily="65" charset="-120"/>
                    <a:ea typeface="標楷體" panose="03000509000000000000" pitchFamily="65" charset="-120"/>
                    <a:cs typeface="Kaiti TC" charset="-120"/>
                  </a:rPr>
                  <a:t>以臺灣為舞台，從生活情境的觀察與理解環境系統。</a:t>
                </a:r>
                <a:endParaRPr lang="en-US" kern="100" dirty="0">
                  <a:latin typeface="標楷體" panose="03000509000000000000" pitchFamily="65" charset="-120"/>
                  <a:ea typeface="標楷體" panose="03000509000000000000" pitchFamily="65" charset="-120"/>
                  <a:cs typeface="Kaiti TC" charset="-120"/>
                </a:endParaRPr>
              </a:p>
            </p:txBody>
          </p:sp>
        </p:grpSp>
      </p:grpSp>
      <p:grpSp>
        <p:nvGrpSpPr>
          <p:cNvPr id="6" name="Group 8"/>
          <p:cNvGrpSpPr/>
          <p:nvPr/>
        </p:nvGrpSpPr>
        <p:grpSpPr>
          <a:xfrm>
            <a:off x="2892546" y="2329982"/>
            <a:ext cx="3555601" cy="2867358"/>
            <a:chOff x="2809726" y="2678095"/>
            <a:chExt cx="3555601" cy="2867358"/>
          </a:xfrm>
        </p:grpSpPr>
        <p:grpSp>
          <p:nvGrpSpPr>
            <p:cNvPr id="7" name="Group 5"/>
            <p:cNvGrpSpPr/>
            <p:nvPr/>
          </p:nvGrpSpPr>
          <p:grpSpPr>
            <a:xfrm>
              <a:off x="3097453" y="2678095"/>
              <a:ext cx="2867358" cy="2867358"/>
              <a:chOff x="3097453" y="2678095"/>
              <a:chExt cx="2867358" cy="2867358"/>
            </a:xfrm>
          </p:grpSpPr>
          <p:sp>
            <p:nvSpPr>
              <p:cNvPr id="43" name="Oval 42"/>
              <p:cNvSpPr/>
              <p:nvPr/>
            </p:nvSpPr>
            <p:spPr>
              <a:xfrm rot="302816">
                <a:off x="3097453" y="2678095"/>
                <a:ext cx="2867358" cy="286735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>
                <a:innerShdw blurRad="1270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dirty="0"/>
              </a:p>
            </p:txBody>
          </p:sp>
          <p:sp>
            <p:nvSpPr>
              <p:cNvPr id="44" name="Rectangle 43"/>
              <p:cNvSpPr/>
              <p:nvPr/>
            </p:nvSpPr>
            <p:spPr>
              <a:xfrm>
                <a:off x="3441138" y="3184148"/>
                <a:ext cx="2133600" cy="369413"/>
              </a:xfrm>
              <a:prstGeom prst="rect">
                <a:avLst/>
              </a:prstGeom>
              <a:noFill/>
              <a:ln w="25400" cap="flat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174625" marR="0" lvl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22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5">
                        <a:lumMod val="75000"/>
                      </a:schemeClr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Arial" pitchFamily="34" charset="0"/>
                  </a:rPr>
                  <a:t>區域特色與</a:t>
                </a:r>
                <a:endParaRPr kumimoji="0" lang="en-US" altLang="zh-TW" sz="2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5">
                      <a:lumMod val="75000"/>
                    </a:schemeClr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Arial" pitchFamily="34" charset="0"/>
                </a:endParaRPr>
              </a:p>
              <a:p>
                <a:pPr marL="174625" marR="0" lvl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zh-TW" altLang="en-US" sz="22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accent5">
                        <a:lumMod val="75000"/>
                      </a:schemeClr>
                    </a:solidFill>
                    <a:effectLst/>
                    <a:uLnTx/>
                    <a:uFillTx/>
                    <a:latin typeface="標楷體" panose="03000509000000000000" pitchFamily="65" charset="-120"/>
                    <a:ea typeface="標楷體" panose="03000509000000000000" pitchFamily="65" charset="-120"/>
                    <a:cs typeface="Arial" pitchFamily="34" charset="0"/>
                  </a:rPr>
                  <a:t>全球關連</a:t>
                </a:r>
                <a:endParaRPr kumimoji="0" lang="en-US" sz="22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5">
                      <a:lumMod val="75000"/>
                    </a:schemeClr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Arial" pitchFamily="34" charset="0"/>
                </a:endParaRPr>
              </a:p>
            </p:txBody>
          </p:sp>
        </p:grpSp>
        <p:sp>
          <p:nvSpPr>
            <p:cNvPr id="45" name="Oval 44"/>
            <p:cNvSpPr/>
            <p:nvPr/>
          </p:nvSpPr>
          <p:spPr>
            <a:xfrm>
              <a:off x="2809726" y="2855594"/>
              <a:ext cx="3555601" cy="1981200"/>
            </a:xfrm>
            <a:prstGeom prst="ellipse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 marL="285750" indent="-285750">
                <a:buFont typeface="Arial" charset="0"/>
                <a:buChar char="•"/>
                <a:defRPr/>
              </a:pPr>
              <a:endParaRPr lang="en-US" kern="0" dirty="0">
                <a:solidFill>
                  <a:sysClr val="windowText" lastClr="000000">
                    <a:lumMod val="65000"/>
                    <a:lumOff val="35000"/>
                  </a:sysClr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8" name="Group 4"/>
          <p:cNvGrpSpPr/>
          <p:nvPr/>
        </p:nvGrpSpPr>
        <p:grpSpPr>
          <a:xfrm>
            <a:off x="5975609" y="2394827"/>
            <a:ext cx="3505200" cy="2867358"/>
            <a:chOff x="5961651" y="2678095"/>
            <a:chExt cx="3505200" cy="2867358"/>
          </a:xfrm>
        </p:grpSpPr>
        <p:sp>
          <p:nvSpPr>
            <p:cNvPr id="59" name="Oval 58"/>
            <p:cNvSpPr/>
            <p:nvPr/>
          </p:nvSpPr>
          <p:spPr>
            <a:xfrm rot="302816">
              <a:off x="6094254" y="2678095"/>
              <a:ext cx="2867358" cy="286735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innerShdw blurRad="127000" dist="50800" dir="13500000">
                <a:prstClr val="black">
                  <a:alpha val="50000"/>
                </a:prstClr>
              </a:inn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60" name="Rectangle 59"/>
            <p:cNvSpPr/>
            <p:nvPr/>
          </p:nvSpPr>
          <p:spPr>
            <a:xfrm>
              <a:off x="6410459" y="2955169"/>
              <a:ext cx="2133600" cy="369413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4625" marR="0" lvl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zh-TW" altLang="en-US" sz="2800" b="1" i="0" u="none" strike="noStrike" kern="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標楷體" panose="03000509000000000000" pitchFamily="65" charset="-120"/>
                  <a:ea typeface="標楷體" panose="03000509000000000000" pitchFamily="65" charset="-120"/>
                  <a:cs typeface="Arial" pitchFamily="34" charset="0"/>
                </a:rPr>
                <a:t>社會議題</a:t>
              </a:r>
              <a:endPara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標楷體" panose="03000509000000000000" pitchFamily="65" charset="-120"/>
                <a:ea typeface="標楷體" panose="03000509000000000000" pitchFamily="65" charset="-120"/>
                <a:cs typeface="Arial" pitchFamily="34" charset="0"/>
              </a:endParaRPr>
            </a:p>
          </p:txBody>
        </p:sp>
        <p:sp>
          <p:nvSpPr>
            <p:cNvPr id="61" name="Oval 60"/>
            <p:cNvSpPr/>
            <p:nvPr/>
          </p:nvSpPr>
          <p:spPr>
            <a:xfrm>
              <a:off x="5961651" y="3511396"/>
              <a:ext cx="3505200" cy="1981200"/>
            </a:xfrm>
            <a:prstGeom prst="ellipse">
              <a:avLst/>
            </a:prstGeom>
            <a:noFill/>
            <a:ln w="12700" cap="flat" cmpd="sng" algn="ctr">
              <a:noFill/>
              <a:prstDash val="solid"/>
            </a:ln>
            <a:effectLst/>
          </p:spPr>
          <p:txBody>
            <a:bodyPr lIns="0" tIns="0" rIns="0" bIns="0" rtlCol="0" anchor="t"/>
            <a:lstStyle/>
            <a:p>
              <a:pPr>
                <a:spcAft>
                  <a:spcPts val="0"/>
                </a:spcAft>
              </a:pPr>
              <a:r>
                <a:rPr lang="zh-TW" altLang="en-US" kern="100" dirty="0">
                  <a:latin typeface="標楷體" panose="03000509000000000000" pitchFamily="65" charset="-120"/>
                  <a:ea typeface="標楷體" panose="03000509000000000000" pitchFamily="65" charset="-120"/>
                  <a:cs typeface="Kaiti TC" charset="-120"/>
                </a:rPr>
                <a:t>以</a:t>
              </a:r>
              <a:r>
                <a:rPr lang="zh-TW" altLang="zh-TW" kern="100" dirty="0">
                  <a:latin typeface="標楷體" panose="03000509000000000000" pitchFamily="65" charset="-120"/>
                  <a:ea typeface="標楷體" panose="03000509000000000000" pitchFamily="65" charset="-120"/>
                  <a:cs typeface="Kaiti TC" charset="-120"/>
                </a:rPr>
                <a:t>臺灣的地名文化、臺灣的</a:t>
              </a:r>
              <a:r>
                <a:rPr lang="zh-TW" altLang="en-US" kern="100" dirty="0">
                  <a:latin typeface="標楷體" panose="03000509000000000000" pitchFamily="65" charset="-120"/>
                  <a:ea typeface="標楷體" panose="03000509000000000000" pitchFamily="65" charset="-120"/>
                  <a:cs typeface="Kaiti TC" charset="-120"/>
                </a:rPr>
                <a:t>農業與</a:t>
              </a:r>
              <a:r>
                <a:rPr lang="zh-TW" altLang="zh-TW" kern="100" dirty="0">
                  <a:latin typeface="標楷體" panose="03000509000000000000" pitchFamily="65" charset="-120"/>
                  <a:ea typeface="標楷體" panose="03000509000000000000" pitchFamily="65" charset="-120"/>
                  <a:cs typeface="Kaiti TC" charset="-120"/>
                </a:rPr>
                <a:t>食品安全</a:t>
              </a:r>
              <a:r>
                <a:rPr lang="zh-TW" altLang="en-US" kern="100" dirty="0">
                  <a:latin typeface="標楷體" panose="03000509000000000000" pitchFamily="65" charset="-120"/>
                  <a:ea typeface="標楷體" panose="03000509000000000000" pitchFamily="65" charset="-120"/>
                  <a:cs typeface="Kaiti TC" charset="-120"/>
                </a:rPr>
                <a:t>議題為例。</a:t>
              </a:r>
              <a:endParaRPr lang="zh-TW" altLang="zh-TW" kern="100" dirty="0">
                <a:latin typeface="標楷體" panose="03000509000000000000" pitchFamily="65" charset="-120"/>
                <a:ea typeface="標楷體" panose="03000509000000000000" pitchFamily="65" charset="-120"/>
                <a:cs typeface="Kaiti TC" charset="-120"/>
              </a:endParaRPr>
            </a:p>
          </p:txBody>
        </p:sp>
      </p:grpSp>
      <p:grpSp>
        <p:nvGrpSpPr>
          <p:cNvPr id="9" name="Group 2"/>
          <p:cNvGrpSpPr/>
          <p:nvPr/>
        </p:nvGrpSpPr>
        <p:grpSpPr>
          <a:xfrm>
            <a:off x="1022688" y="773961"/>
            <a:ext cx="1367334" cy="1375384"/>
            <a:chOff x="777172" y="1124085"/>
            <a:chExt cx="1367334" cy="1375384"/>
          </a:xfrm>
        </p:grpSpPr>
        <p:sp>
          <p:nvSpPr>
            <p:cNvPr id="33" name="Oval 32"/>
            <p:cNvSpPr/>
            <p:nvPr/>
          </p:nvSpPr>
          <p:spPr>
            <a:xfrm rot="668725">
              <a:off x="830421" y="1124085"/>
              <a:ext cx="1278435" cy="1278434"/>
            </a:xfrm>
            <a:prstGeom prst="ellipse">
              <a:avLst/>
            </a:prstGeom>
            <a:gradFill flip="none" rotWithShape="1">
              <a:gsLst>
                <a:gs pos="38000">
                  <a:srgbClr val="E2E9F5">
                    <a:lumMod val="0"/>
                    <a:alpha val="0"/>
                  </a:srgbClr>
                </a:gs>
                <a:gs pos="100000">
                  <a:srgbClr val="72AF2F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20" name="Oval 19"/>
            <p:cNvSpPr/>
            <p:nvPr/>
          </p:nvSpPr>
          <p:spPr>
            <a:xfrm>
              <a:off x="866072" y="1163050"/>
              <a:ext cx="1278434" cy="1278435"/>
            </a:xfrm>
            <a:prstGeom prst="ellipse">
              <a:avLst/>
            </a:prstGeom>
            <a:gradFill flip="none" rotWithShape="1">
              <a:gsLst>
                <a:gs pos="0">
                  <a:srgbClr val="9BED17"/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path path="shape">
                <a:fillToRect l="50000" t="50000" r="50000" b="50000"/>
              </a:path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6000" b="1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" name="Rectangle 1"/>
            <p:cNvSpPr/>
            <p:nvPr/>
          </p:nvSpPr>
          <p:spPr>
            <a:xfrm>
              <a:off x="777172" y="1299140"/>
              <a:ext cx="1325252" cy="12003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TW" altLang="en-US" sz="2400" b="1" dirty="0">
                  <a:solidFill>
                    <a:schemeClr val="lt1"/>
                  </a:solidFill>
                  <a:latin typeface="標楷體" panose="03000509000000000000" pitchFamily="65" charset="-120"/>
                  <a:ea typeface="標楷體" panose="03000509000000000000" pitchFamily="65" charset="-120"/>
                  <a:cs typeface="Kaiti TC" charset="-120"/>
                </a:rPr>
                <a:t>基本概念與臺灣</a:t>
              </a:r>
              <a:endParaRPr lang="en-GB" sz="2400" b="1" dirty="0">
                <a:solidFill>
                  <a:schemeClr val="lt1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Kaiti TC" charset="-120"/>
              </a:endParaRPr>
            </a:p>
          </p:txBody>
        </p:sp>
      </p:grpSp>
      <p:sp>
        <p:nvSpPr>
          <p:cNvPr id="4" name="文字方塊 3"/>
          <p:cNvSpPr txBox="1"/>
          <p:nvPr/>
        </p:nvSpPr>
        <p:spPr>
          <a:xfrm>
            <a:off x="522600" y="5405955"/>
            <a:ext cx="8360762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sz="2000" b="1" dirty="0"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1</a:t>
            </a:r>
            <a:r>
              <a:rPr lang="zh-TW" altLang="en-US" sz="2000" b="1" dirty="0"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、研修依據</a:t>
            </a:r>
            <a:r>
              <a:rPr lang="zh-TW" altLang="en-US" sz="2000" b="1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總綱</a:t>
            </a:r>
            <a:r>
              <a:rPr lang="zh-TW" altLang="en-US" sz="2000" b="1" dirty="0"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及</a:t>
            </a:r>
            <a:r>
              <a:rPr lang="en-US" altLang="zh-TW" sz="2000" b="1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2016</a:t>
            </a:r>
            <a:r>
              <a:rPr lang="zh-TW" altLang="en-US" sz="2000" b="1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地理教育國際憲章</a:t>
            </a:r>
            <a:r>
              <a:rPr lang="zh-TW" altLang="en-US" sz="2000" b="1" dirty="0"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。</a:t>
            </a:r>
            <a:endParaRPr lang="en-US" altLang="zh-TW" sz="2000" b="1" dirty="0">
              <a:latin typeface="標楷體" panose="03000509000000000000" pitchFamily="65" charset="-120"/>
              <a:ea typeface="標楷體" panose="03000509000000000000" pitchFamily="65" charset="-120"/>
              <a:cs typeface="Heiti TC Light" charset="-120"/>
            </a:endParaRPr>
          </a:p>
          <a:p>
            <a:r>
              <a:rPr lang="en-US" altLang="zh-TW" sz="2000" b="1" dirty="0"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2</a:t>
            </a:r>
            <a:r>
              <a:rPr lang="zh-TW" altLang="en-US" sz="2000" b="1" dirty="0"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、國中地理以「</a:t>
            </a:r>
            <a:r>
              <a:rPr lang="zh-TW" altLang="en-US" sz="2000" b="1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基本概念與臺灣</a:t>
            </a:r>
            <a:r>
              <a:rPr lang="zh-TW" altLang="en-US" sz="2000" b="1" dirty="0"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」、「</a:t>
            </a:r>
            <a:r>
              <a:rPr lang="zh-TW" altLang="en-US" sz="2000" b="1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區域特色</a:t>
            </a:r>
            <a:r>
              <a:rPr lang="zh-TW" altLang="en-US" sz="2000" b="1" dirty="0"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」及「</a:t>
            </a:r>
            <a:r>
              <a:rPr lang="zh-TW" altLang="en-US" sz="2000" b="1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地理議題</a:t>
            </a:r>
            <a:r>
              <a:rPr lang="zh-TW" altLang="en-US" sz="2000" b="1" dirty="0"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」三個主題以達成「</a:t>
            </a:r>
            <a:r>
              <a:rPr lang="zh-TW" altLang="zh-TW" sz="2000" b="1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環境系統</a:t>
            </a:r>
            <a:r>
              <a:rPr lang="zh-TW" altLang="en-US" sz="2000" b="1" dirty="0"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」</a:t>
            </a:r>
            <a:r>
              <a:rPr lang="zh-TW" altLang="zh-TW" sz="2000" b="1" dirty="0"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、</a:t>
            </a:r>
            <a:r>
              <a:rPr lang="zh-TW" altLang="en-US" sz="2000" b="1" dirty="0"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「</a:t>
            </a:r>
            <a:r>
              <a:rPr lang="zh-TW" altLang="zh-TW" sz="2000" b="1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區域特色</a:t>
            </a:r>
            <a:r>
              <a:rPr lang="zh-TW" altLang="en-US" sz="2000" b="1" dirty="0"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」</a:t>
            </a:r>
            <a:r>
              <a:rPr lang="zh-TW" altLang="zh-TW" sz="2000" b="1" dirty="0"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和</a:t>
            </a:r>
            <a:r>
              <a:rPr lang="zh-TW" altLang="en-US" sz="2000" b="1" dirty="0"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「</a:t>
            </a:r>
            <a:r>
              <a:rPr lang="zh-TW" altLang="zh-TW" sz="2000" b="1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全球關</a:t>
            </a:r>
            <a:r>
              <a:rPr lang="zh-TW" altLang="en-US" sz="2000" b="1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連</a:t>
            </a:r>
            <a:r>
              <a:rPr lang="zh-TW" altLang="en-US" sz="2000" b="1" dirty="0"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」地理核心素養，也盡可能融入原住民知識等內容。</a:t>
            </a:r>
            <a:endParaRPr lang="en-US" altLang="zh-TW" sz="2000" b="1" dirty="0">
              <a:latin typeface="標楷體" panose="03000509000000000000" pitchFamily="65" charset="-120"/>
              <a:ea typeface="標楷體" panose="03000509000000000000" pitchFamily="65" charset="-120"/>
              <a:cs typeface="Heiti TC Light" charset="-120"/>
            </a:endParaRPr>
          </a:p>
          <a:p>
            <a:endParaRPr lang="zh-TW" altLang="en-US" sz="2000" b="1" dirty="0">
              <a:latin typeface="Heiti TC Light" charset="-120"/>
              <a:ea typeface="Heiti TC Light" charset="-120"/>
              <a:cs typeface="Heiti TC Light" charset="-120"/>
            </a:endParaRPr>
          </a:p>
        </p:txBody>
      </p:sp>
      <p:sp>
        <p:nvSpPr>
          <p:cNvPr id="10" name="文字方塊 9"/>
          <p:cNvSpPr txBox="1"/>
          <p:nvPr/>
        </p:nvSpPr>
        <p:spPr>
          <a:xfrm>
            <a:off x="3362399" y="3677820"/>
            <a:ext cx="246225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</a:pPr>
            <a:r>
              <a:rPr lang="zh-TW" altLang="en-US" kern="100" dirty="0">
                <a:latin typeface="標楷體" panose="03000509000000000000" pitchFamily="65" charset="-120"/>
                <a:ea typeface="標楷體" panose="03000509000000000000" pitchFamily="65" charset="-120"/>
                <a:cs typeface="Kaiti TC" charset="-120"/>
              </a:rPr>
              <a:t>分析世界重要區域的特色及重要議題。</a:t>
            </a:r>
            <a:endParaRPr lang="zh-TW" altLang="zh-TW" kern="100" dirty="0">
              <a:latin typeface="標楷體" panose="03000509000000000000" pitchFamily="65" charset="-120"/>
              <a:ea typeface="標楷體" panose="03000509000000000000" pitchFamily="65" charset="-120"/>
              <a:cs typeface="Kaiti TC" charset="-120"/>
            </a:endParaRPr>
          </a:p>
        </p:txBody>
      </p:sp>
      <p:graphicFrame>
        <p:nvGraphicFramePr>
          <p:cNvPr id="37" name="資料庫圖表 36"/>
          <p:cNvGraphicFramePr/>
          <p:nvPr>
            <p:extLst>
              <p:ext uri="{D42A27DB-BD31-4B8C-83A1-F6EECF244321}">
                <p14:modId xmlns:p14="http://schemas.microsoft.com/office/powerpoint/2010/main" val="883431744"/>
              </p:ext>
            </p:extLst>
          </p:nvPr>
        </p:nvGraphicFramePr>
        <p:xfrm>
          <a:off x="0" y="0"/>
          <a:ext cx="9144000" cy="620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4697062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內容版面配置區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18618425"/>
              </p:ext>
            </p:extLst>
          </p:nvPr>
        </p:nvGraphicFramePr>
        <p:xfrm>
          <a:off x="1834441" y="2544700"/>
          <a:ext cx="6190648" cy="327019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14" name="圖片 1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373"/>
          <a:stretch/>
        </p:blipFill>
        <p:spPr>
          <a:xfrm>
            <a:off x="7092402" y="3664405"/>
            <a:ext cx="2247900" cy="1655127"/>
          </a:xfrm>
          <a:prstGeom prst="rect">
            <a:avLst/>
          </a:prstGeom>
        </p:spPr>
      </p:pic>
      <p:grpSp>
        <p:nvGrpSpPr>
          <p:cNvPr id="2" name="群組 105"/>
          <p:cNvGrpSpPr/>
          <p:nvPr/>
        </p:nvGrpSpPr>
        <p:grpSpPr bwMode="auto">
          <a:xfrm>
            <a:off x="7629880" y="2382427"/>
            <a:ext cx="1262740" cy="1369707"/>
            <a:chOff x="2786050" y="3357560"/>
            <a:chExt cx="500066" cy="785821"/>
          </a:xfrm>
          <a:solidFill>
            <a:srgbClr val="FFFF00"/>
          </a:solidFill>
        </p:grpSpPr>
        <p:sp>
          <p:nvSpPr>
            <p:cNvPr id="7" name="圓角矩形 6"/>
            <p:cNvSpPr/>
            <p:nvPr/>
          </p:nvSpPr>
          <p:spPr>
            <a:xfrm>
              <a:off x="2942558" y="3857628"/>
              <a:ext cx="63215" cy="285752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TW" altLang="en-US" sz="1600">
                <a:solidFill>
                  <a:prstClr val="white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endParaRPr>
            </a:p>
          </p:txBody>
        </p:sp>
        <p:sp>
          <p:nvSpPr>
            <p:cNvPr id="8" name="圓角矩形 7"/>
            <p:cNvSpPr/>
            <p:nvPr/>
          </p:nvSpPr>
          <p:spPr>
            <a:xfrm>
              <a:off x="3068987" y="3857629"/>
              <a:ext cx="63215" cy="285752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TW" altLang="en-US" sz="1600">
                <a:solidFill>
                  <a:prstClr val="white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endParaRPr>
            </a:p>
          </p:txBody>
        </p:sp>
        <p:sp>
          <p:nvSpPr>
            <p:cNvPr id="9" name="圓角矩形 8"/>
            <p:cNvSpPr/>
            <p:nvPr/>
          </p:nvSpPr>
          <p:spPr>
            <a:xfrm rot="1456497">
              <a:off x="3096523" y="3648453"/>
              <a:ext cx="189593" cy="71960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TW" altLang="en-US" sz="1600">
                <a:solidFill>
                  <a:prstClr val="white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endParaRPr>
            </a:p>
          </p:txBody>
        </p:sp>
        <p:sp>
          <p:nvSpPr>
            <p:cNvPr id="10" name="圓角矩形 9"/>
            <p:cNvSpPr/>
            <p:nvPr/>
          </p:nvSpPr>
          <p:spPr>
            <a:xfrm rot="19822538">
              <a:off x="2786050" y="3657636"/>
              <a:ext cx="197540" cy="78509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TW" altLang="en-US" sz="1600">
                <a:solidFill>
                  <a:prstClr val="white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endParaRPr>
            </a:p>
          </p:txBody>
        </p:sp>
        <p:sp>
          <p:nvSpPr>
            <p:cNvPr id="11" name="橢圓 10"/>
            <p:cNvSpPr/>
            <p:nvPr/>
          </p:nvSpPr>
          <p:spPr>
            <a:xfrm>
              <a:off x="2942560" y="3357560"/>
              <a:ext cx="189644" cy="214314"/>
            </a:xfrm>
            <a:prstGeom prst="ellipse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TW" altLang="en-US" sz="1600">
                <a:solidFill>
                  <a:prstClr val="white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endParaRPr>
            </a:p>
          </p:txBody>
        </p:sp>
        <p:sp>
          <p:nvSpPr>
            <p:cNvPr id="12" name="圓角矩形 11"/>
            <p:cNvSpPr/>
            <p:nvPr/>
          </p:nvSpPr>
          <p:spPr>
            <a:xfrm>
              <a:off x="2942560" y="3571876"/>
              <a:ext cx="189644" cy="321471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zh-TW" altLang="en-US" sz="1600">
                <a:solidFill>
                  <a:prstClr val="white"/>
                </a:solidFill>
                <a:latin typeface="Times New Roman" pitchFamily="18" charset="0"/>
                <a:ea typeface="標楷體" pitchFamily="65" charset="-120"/>
                <a:cs typeface="Times New Roman" pitchFamily="18" charset="0"/>
              </a:endParaRPr>
            </a:p>
          </p:txBody>
        </p:sp>
      </p:grpSp>
      <p:sp>
        <p:nvSpPr>
          <p:cNvPr id="17" name="向右箭號 16"/>
          <p:cNvSpPr/>
          <p:nvPr/>
        </p:nvSpPr>
        <p:spPr>
          <a:xfrm rot="10800000">
            <a:off x="2372283" y="3740055"/>
            <a:ext cx="668586" cy="391084"/>
          </a:xfrm>
          <a:prstGeom prst="stripedRightArrow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>
              <a:solidFill>
                <a:prstClr val="white"/>
              </a:solidFill>
            </a:endParaRPr>
          </a:p>
        </p:txBody>
      </p:sp>
      <p:sp>
        <p:nvSpPr>
          <p:cNvPr id="18" name="文字方塊 17"/>
          <p:cNvSpPr txBox="1"/>
          <p:nvPr/>
        </p:nvSpPr>
        <p:spPr>
          <a:xfrm>
            <a:off x="6577777" y="2882190"/>
            <a:ext cx="114242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TW" altLang="en-US" b="1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Kaiti TC" charset="-120"/>
              </a:rPr>
              <a:t>必修課程</a:t>
            </a:r>
            <a:endParaRPr kumimoji="1" lang="en-US" altLang="zh-TW" b="1" dirty="0">
              <a:solidFill>
                <a:prstClr val="black"/>
              </a:solidFill>
              <a:latin typeface="標楷體" panose="03000509000000000000" pitchFamily="65" charset="-120"/>
              <a:ea typeface="標楷體" panose="03000509000000000000" pitchFamily="65" charset="-120"/>
              <a:cs typeface="Kaiti TC" charset="-120"/>
            </a:endParaRPr>
          </a:p>
          <a:p>
            <a:pPr algn="ctr"/>
            <a:r>
              <a:rPr kumimoji="1" lang="en-US" altLang="zh-TW" b="1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Kaiti TC" charset="-120"/>
              </a:rPr>
              <a:t>6</a:t>
            </a:r>
            <a:r>
              <a:rPr kumimoji="1" lang="zh-TW" altLang="en-US" b="1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Kaiti TC" charset="-120"/>
              </a:rPr>
              <a:t>學分</a:t>
            </a:r>
          </a:p>
        </p:txBody>
      </p:sp>
      <p:sp>
        <p:nvSpPr>
          <p:cNvPr id="19" name="文字方塊 18"/>
          <p:cNvSpPr txBox="1"/>
          <p:nvPr/>
        </p:nvSpPr>
        <p:spPr>
          <a:xfrm>
            <a:off x="2311358" y="2828802"/>
            <a:ext cx="11424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zh-TW" altLang="en-US" b="1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Kaiti TC" charset="-120"/>
              </a:rPr>
              <a:t>加深加廣選修課程</a:t>
            </a:r>
            <a:endParaRPr kumimoji="1" lang="en-US" altLang="zh-TW" b="1" dirty="0">
              <a:solidFill>
                <a:prstClr val="black"/>
              </a:solidFill>
              <a:latin typeface="標楷體" panose="03000509000000000000" pitchFamily="65" charset="-120"/>
              <a:ea typeface="標楷體" panose="03000509000000000000" pitchFamily="65" charset="-120"/>
              <a:cs typeface="Kaiti TC" charset="-120"/>
            </a:endParaRPr>
          </a:p>
          <a:p>
            <a:pPr algn="ctr"/>
            <a:r>
              <a:rPr kumimoji="1" lang="en-US" altLang="zh-TW" b="1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Kaiti TC" charset="-120"/>
              </a:rPr>
              <a:t>8</a:t>
            </a:r>
            <a:r>
              <a:rPr kumimoji="1" lang="zh-TW" altLang="en-US" b="1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Kaiti TC" charset="-120"/>
              </a:rPr>
              <a:t>學分</a:t>
            </a:r>
          </a:p>
        </p:txBody>
      </p:sp>
      <p:sp>
        <p:nvSpPr>
          <p:cNvPr id="5" name="向右箭號 4"/>
          <p:cNvSpPr/>
          <p:nvPr/>
        </p:nvSpPr>
        <p:spPr>
          <a:xfrm>
            <a:off x="6817115" y="3754758"/>
            <a:ext cx="668586" cy="376382"/>
          </a:xfrm>
          <a:prstGeom prst="stripedRightArrow">
            <a:avLst/>
          </a:prstGeom>
          <a:solidFill>
            <a:schemeClr val="accent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TW" altLang="en-US">
              <a:solidFill>
                <a:prstClr val="white"/>
              </a:solidFill>
            </a:endParaRPr>
          </a:p>
        </p:txBody>
      </p:sp>
      <p:graphicFrame>
        <p:nvGraphicFramePr>
          <p:cNvPr id="21" name="資料圖表 20"/>
          <p:cNvGraphicFramePr/>
          <p:nvPr>
            <p:extLst>
              <p:ext uri="{D42A27DB-BD31-4B8C-83A1-F6EECF244321}">
                <p14:modId xmlns:p14="http://schemas.microsoft.com/office/powerpoint/2010/main" val="3600288352"/>
              </p:ext>
            </p:extLst>
          </p:nvPr>
        </p:nvGraphicFramePr>
        <p:xfrm>
          <a:off x="118365" y="2050527"/>
          <a:ext cx="2206534" cy="37589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2" name="文字方塊 21"/>
          <p:cNvSpPr txBox="1"/>
          <p:nvPr/>
        </p:nvSpPr>
        <p:spPr>
          <a:xfrm>
            <a:off x="7225870" y="1678373"/>
            <a:ext cx="1817796" cy="40011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5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</p:spPr>
        <p:txBody>
          <a:bodyPr wrap="square" rtlCol="0">
            <a:spAutoFit/>
          </a:bodyPr>
          <a:lstStyle/>
          <a:p>
            <a:r>
              <a:rPr lang="zh-TW" altLang="en-US" sz="2000" b="1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國民基本教育</a:t>
            </a:r>
          </a:p>
        </p:txBody>
      </p:sp>
      <p:sp>
        <p:nvSpPr>
          <p:cNvPr id="23" name="文字方塊 22"/>
          <p:cNvSpPr txBox="1"/>
          <p:nvPr/>
        </p:nvSpPr>
        <p:spPr>
          <a:xfrm>
            <a:off x="135935" y="1700746"/>
            <a:ext cx="2247298" cy="400110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35000">
                <a:schemeClr val="accent5">
                  <a:lumMod val="0"/>
                  <a:lumOff val="100000"/>
                </a:schemeClr>
              </a:gs>
              <a:gs pos="100000">
                <a:schemeClr val="accent5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</p:spPr>
        <p:txBody>
          <a:bodyPr wrap="square" rtlCol="0">
            <a:spAutoFit/>
          </a:bodyPr>
          <a:lstStyle>
            <a:defPPr>
              <a:defRPr lang="zh-TW"/>
            </a:defPPr>
            <a:lvl1pPr>
              <a:defRPr sz="2000" b="1">
                <a:latin typeface="Heiti TC Light" charset="-120"/>
                <a:ea typeface="Heiti TC Light" charset="-120"/>
                <a:cs typeface="Heiti TC Light" charset="-120"/>
              </a:defRPr>
            </a:lvl1pPr>
          </a:lstStyle>
          <a:p>
            <a:r>
              <a:rPr lang="zh-TW" altLang="en-US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銜接大學預備教育</a:t>
            </a:r>
          </a:p>
        </p:txBody>
      </p:sp>
      <p:sp>
        <p:nvSpPr>
          <p:cNvPr id="24" name="文字方塊 23"/>
          <p:cNvSpPr txBox="1"/>
          <p:nvPr/>
        </p:nvSpPr>
        <p:spPr>
          <a:xfrm>
            <a:off x="4244874" y="3013575"/>
            <a:ext cx="154181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b="1" dirty="0">
                <a:solidFill>
                  <a:srgbClr val="E7E6E6">
                    <a:lumMod val="50000"/>
                  </a:srgb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以地理角度從事</a:t>
            </a:r>
            <a:endParaRPr lang="en-US" altLang="zh-TW" sz="1400" b="1" dirty="0">
              <a:solidFill>
                <a:srgbClr val="E7E6E6">
                  <a:lumMod val="50000"/>
                </a:srgbClr>
              </a:solidFill>
              <a:latin typeface="標楷體" panose="03000509000000000000" pitchFamily="65" charset="-120"/>
              <a:ea typeface="標楷體" panose="03000509000000000000" pitchFamily="65" charset="-120"/>
              <a:cs typeface="Heiti TC Light" charset="-120"/>
            </a:endParaRPr>
          </a:p>
          <a:p>
            <a:r>
              <a:rPr lang="zh-TW" altLang="en-US" sz="1400" b="1" dirty="0">
                <a:solidFill>
                  <a:srgbClr val="E7E6E6">
                    <a:lumMod val="50000"/>
                  </a:srgb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區域議題的探究</a:t>
            </a:r>
          </a:p>
        </p:txBody>
      </p:sp>
      <p:sp>
        <p:nvSpPr>
          <p:cNvPr id="26" name="文字方塊 25"/>
          <p:cNvSpPr txBox="1"/>
          <p:nvPr/>
        </p:nvSpPr>
        <p:spPr>
          <a:xfrm>
            <a:off x="4112833" y="3822880"/>
            <a:ext cx="213633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b="1" dirty="0">
                <a:solidFill>
                  <a:srgbClr val="E7E6E6">
                    <a:lumMod val="50000"/>
                  </a:srgb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以系統的思維討論自</a:t>
            </a:r>
            <a:endParaRPr lang="en-US" altLang="zh-TW" sz="1400" b="1" dirty="0">
              <a:solidFill>
                <a:srgbClr val="E7E6E6">
                  <a:lumMod val="50000"/>
                </a:srgbClr>
              </a:solidFill>
              <a:latin typeface="標楷體" panose="03000509000000000000" pitchFamily="65" charset="-120"/>
              <a:ea typeface="標楷體" panose="03000509000000000000" pitchFamily="65" charset="-120"/>
              <a:cs typeface="Heiti TC Light" charset="-120"/>
            </a:endParaRPr>
          </a:p>
          <a:p>
            <a:r>
              <a:rPr lang="zh-TW" altLang="en-US" sz="1400" b="1" dirty="0">
                <a:solidFill>
                  <a:srgbClr val="E7E6E6">
                    <a:lumMod val="50000"/>
                  </a:srgbClr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然與人文環境的運作</a:t>
            </a:r>
          </a:p>
        </p:txBody>
      </p:sp>
      <p:sp>
        <p:nvSpPr>
          <p:cNvPr id="27" name="文字方塊 26"/>
          <p:cNvSpPr txBox="1"/>
          <p:nvPr/>
        </p:nvSpPr>
        <p:spPr>
          <a:xfrm>
            <a:off x="4346440" y="5070793"/>
            <a:ext cx="13386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1400" b="1" dirty="0">
                <a:solidFill>
                  <a:prstClr val="white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用地圖、</a:t>
            </a:r>
            <a:r>
              <a:rPr lang="en-US" altLang="zh-TW" sz="1400" b="1" dirty="0">
                <a:solidFill>
                  <a:prstClr val="white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GIS</a:t>
            </a:r>
            <a:r>
              <a:rPr lang="zh-TW" altLang="en-US" sz="1400" b="1" dirty="0">
                <a:solidFill>
                  <a:prstClr val="white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等技術理解和展現地表景觀</a:t>
            </a:r>
          </a:p>
        </p:txBody>
      </p:sp>
      <p:sp>
        <p:nvSpPr>
          <p:cNvPr id="28" name="文字方塊 27"/>
          <p:cNvSpPr txBox="1"/>
          <p:nvPr/>
        </p:nvSpPr>
        <p:spPr>
          <a:xfrm>
            <a:off x="3329058" y="1737018"/>
            <a:ext cx="318548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zh-TW" altLang="en-US" b="1" dirty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學生</a:t>
            </a:r>
            <a:r>
              <a:rPr lang="zh-TW" altLang="zh-TW" b="1" dirty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獲得</a:t>
            </a:r>
            <a:r>
              <a:rPr lang="zh-TW" altLang="zh-TW" b="1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科學方法</a:t>
            </a:r>
            <a:r>
              <a:rPr lang="zh-TW" altLang="en-US" b="1" dirty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、</a:t>
            </a:r>
            <a:endParaRPr lang="en-US" altLang="zh-TW" b="1" dirty="0">
              <a:solidFill>
                <a:srgbClr val="000000"/>
              </a:solidFill>
              <a:latin typeface="標楷體" panose="03000509000000000000" pitchFamily="65" charset="-120"/>
              <a:ea typeface="標楷體" panose="03000509000000000000" pitchFamily="65" charset="-120"/>
              <a:cs typeface="Heiti TC Light" charset="-120"/>
            </a:endParaRPr>
          </a:p>
          <a:p>
            <a:r>
              <a:rPr lang="zh-TW" altLang="zh-TW" b="1" dirty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培訓</a:t>
            </a:r>
            <a:r>
              <a:rPr lang="zh-TW" altLang="zh-TW" b="1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科學技能</a:t>
            </a:r>
            <a:r>
              <a:rPr lang="zh-TW" altLang="en-US" b="1" dirty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並</a:t>
            </a:r>
            <a:r>
              <a:rPr lang="zh-TW" altLang="zh-TW" b="1" dirty="0">
                <a:solidFill>
                  <a:srgbClr val="00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提升</a:t>
            </a:r>
            <a:r>
              <a:rPr lang="zh-TW" altLang="zh-TW" b="1" dirty="0">
                <a:solidFill>
                  <a:srgbClr val="FF0000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生活素質</a:t>
            </a:r>
            <a:endParaRPr lang="en-US" altLang="zh-TW" b="1" dirty="0">
              <a:solidFill>
                <a:srgbClr val="000000"/>
              </a:solidFill>
              <a:latin typeface="標楷體" panose="03000509000000000000" pitchFamily="65" charset="-120"/>
              <a:ea typeface="標楷體" panose="03000509000000000000" pitchFamily="65" charset="-120"/>
              <a:cs typeface="Heiti TC Light" charset="-120"/>
            </a:endParaRPr>
          </a:p>
        </p:txBody>
      </p:sp>
      <p:sp>
        <p:nvSpPr>
          <p:cNvPr id="30" name="文字方塊 29"/>
          <p:cNvSpPr txBox="1"/>
          <p:nvPr/>
        </p:nvSpPr>
        <p:spPr>
          <a:xfrm>
            <a:off x="2686139" y="804783"/>
            <a:ext cx="4101220" cy="523220"/>
          </a:xfrm>
          <a:prstGeom prst="rect">
            <a:avLst/>
          </a:prstGeom>
          <a:solidFill>
            <a:srgbClr val="92D050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TW" altLang="en-US" sz="2800" b="1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學習內容─地理</a:t>
            </a:r>
            <a:endParaRPr lang="en-US" altLang="zh-TW" sz="2000" b="1" dirty="0">
              <a:solidFill>
                <a:prstClr val="black"/>
              </a:solidFill>
              <a:latin typeface="標楷體" panose="03000509000000000000" pitchFamily="65" charset="-120"/>
              <a:ea typeface="標楷體" panose="03000509000000000000" pitchFamily="65" charset="-120"/>
            </a:endParaRPr>
          </a:p>
        </p:txBody>
      </p:sp>
      <p:sp>
        <p:nvSpPr>
          <p:cNvPr id="3" name="向上箭號圖說文字 2"/>
          <p:cNvSpPr/>
          <p:nvPr/>
        </p:nvSpPr>
        <p:spPr>
          <a:xfrm>
            <a:off x="3612494" y="5786049"/>
            <a:ext cx="2806570" cy="990124"/>
          </a:xfrm>
          <a:prstGeom prst="upArrowCallout">
            <a:avLst/>
          </a:prstGeom>
          <a:gradFill flip="none" rotWithShape="1">
            <a:gsLst>
              <a:gs pos="0">
                <a:schemeClr val="accent5">
                  <a:lumMod val="0"/>
                  <a:lumOff val="100000"/>
                </a:schemeClr>
              </a:gs>
              <a:gs pos="23000">
                <a:schemeClr val="accent5">
                  <a:lumMod val="0"/>
                  <a:lumOff val="100000"/>
                </a:schemeClr>
              </a:gs>
              <a:gs pos="100000">
                <a:schemeClr val="accent5">
                  <a:lumMod val="100000"/>
                </a:schemeClr>
              </a:gs>
            </a:gsLst>
            <a:path path="circle">
              <a:fillToRect l="50000" t="-80000" r="50000" b="180000"/>
            </a:path>
            <a:tileRect/>
          </a:gradFill>
        </p:spPr>
        <p:txBody>
          <a:bodyPr wrap="square" rtlCol="0">
            <a:spAutoFit/>
          </a:bodyPr>
          <a:lstStyle/>
          <a:p>
            <a:pPr algn="ctr"/>
            <a:r>
              <a:rPr lang="zh-TW" altLang="en-US" b="1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研修依據：總綱及</a:t>
            </a:r>
            <a:endParaRPr lang="en-US" altLang="zh-TW" b="1" dirty="0">
              <a:solidFill>
                <a:prstClr val="black"/>
              </a:solidFill>
              <a:latin typeface="標楷體" panose="03000509000000000000" pitchFamily="65" charset="-120"/>
              <a:ea typeface="標楷體" panose="03000509000000000000" pitchFamily="65" charset="-120"/>
              <a:cs typeface="Heiti TC Light" charset="-120"/>
            </a:endParaRPr>
          </a:p>
          <a:p>
            <a:pPr algn="ctr"/>
            <a:r>
              <a:rPr lang="en-US" altLang="zh-TW" b="1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2016</a:t>
            </a:r>
            <a:r>
              <a:rPr lang="zh-TW" altLang="en-US" b="1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  <a:cs typeface="Heiti TC Light" charset="-120"/>
              </a:rPr>
              <a:t>地理教育國際憲章</a:t>
            </a:r>
          </a:p>
        </p:txBody>
      </p:sp>
      <p:graphicFrame>
        <p:nvGraphicFramePr>
          <p:cNvPr id="25" name="資料庫圖表 24"/>
          <p:cNvGraphicFramePr/>
          <p:nvPr>
            <p:extLst>
              <p:ext uri="{D42A27DB-BD31-4B8C-83A1-F6EECF244321}">
                <p14:modId xmlns:p14="http://schemas.microsoft.com/office/powerpoint/2010/main" val="883431744"/>
              </p:ext>
            </p:extLst>
          </p:nvPr>
        </p:nvGraphicFramePr>
        <p:xfrm>
          <a:off x="0" y="0"/>
          <a:ext cx="9144000" cy="620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8827952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92150" y="2627313"/>
            <a:ext cx="7886700" cy="1325562"/>
          </a:xfrm>
          <a:solidFill>
            <a:schemeClr val="accent2">
              <a:lumMod val="40000"/>
              <a:lumOff val="60000"/>
            </a:schemeClr>
          </a:solidFill>
        </p:spPr>
        <p:txBody>
          <a:bodyPr rtlCol="0">
            <a:noAutofit/>
          </a:bodyPr>
          <a:lstStyle/>
          <a:p>
            <a:pPr eaLnBrk="1" fontAlgn="auto" hangingPunct="1">
              <a:lnSpc>
                <a:spcPct val="150000"/>
              </a:lnSpc>
              <a:spcAft>
                <a:spcPts val="0"/>
              </a:spcAft>
              <a:defRPr/>
            </a:pPr>
            <a:r>
              <a:rPr lang="zh-TW" alt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一、</a:t>
            </a:r>
            <a:br>
              <a:rPr lang="en-US" altLang="zh-TW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zh-TW" alt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十二年國民基本教育</a:t>
            </a:r>
            <a:br>
              <a:rPr lang="en-US" altLang="zh-TW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zh-TW" alt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課程綱要理念與特色</a:t>
            </a:r>
          </a:p>
        </p:txBody>
      </p:sp>
      <p:sp>
        <p:nvSpPr>
          <p:cNvPr id="20483" name="投影片編號版面配置區 2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95D9F667-02FB-4FCE-85D2-DA64F60AF373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4</a:t>
            </a:fld>
            <a:endParaRPr lang="zh-TW" altLang="en-US" sz="1200">
              <a:solidFill>
                <a:srgbClr val="898989"/>
              </a:solidFill>
            </a:endParaRPr>
          </a:p>
        </p:txBody>
      </p:sp>
      <p:pic>
        <p:nvPicPr>
          <p:cNvPr id="3" name="圖片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9319" y="6485835"/>
            <a:ext cx="1220238" cy="233955"/>
          </a:xfrm>
          <a:prstGeom prst="rect">
            <a:avLst/>
          </a:prstGeom>
        </p:spPr>
      </p:pic>
    </p:spTree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群組 3"/>
          <p:cNvGrpSpPr>
            <a:grpSpLocks/>
          </p:cNvGrpSpPr>
          <p:nvPr/>
        </p:nvGrpSpPr>
        <p:grpSpPr bwMode="auto">
          <a:xfrm>
            <a:off x="467544" y="1340660"/>
            <a:ext cx="8146065" cy="4996846"/>
            <a:chOff x="226218" y="1277957"/>
            <a:chExt cx="8691563" cy="5306201"/>
          </a:xfrm>
        </p:grpSpPr>
        <p:grpSp>
          <p:nvGrpSpPr>
            <p:cNvPr id="3" name="群組 2"/>
            <p:cNvGrpSpPr>
              <a:grpSpLocks/>
            </p:cNvGrpSpPr>
            <p:nvPr/>
          </p:nvGrpSpPr>
          <p:grpSpPr bwMode="auto">
            <a:xfrm>
              <a:off x="1223167" y="3501669"/>
              <a:ext cx="6575425" cy="400050"/>
              <a:chOff x="1184275" y="3160713"/>
              <a:chExt cx="6575425" cy="400050"/>
            </a:xfrm>
          </p:grpSpPr>
          <p:sp>
            <p:nvSpPr>
              <p:cNvPr id="6184" name="Line 69"/>
              <p:cNvSpPr>
                <a:spLocks noChangeShapeType="1"/>
              </p:cNvSpPr>
              <p:nvPr/>
            </p:nvSpPr>
            <p:spPr bwMode="auto">
              <a:xfrm flipH="1">
                <a:off x="4341813" y="3160713"/>
                <a:ext cx="3417887" cy="152400"/>
              </a:xfrm>
              <a:prstGeom prst="line">
                <a:avLst/>
              </a:prstGeom>
              <a:noFill/>
              <a:ln w="76200">
                <a:solidFill>
                  <a:srgbClr val="B2B2B2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TW" altLang="en-US"/>
              </a:p>
            </p:txBody>
          </p:sp>
          <p:sp>
            <p:nvSpPr>
              <p:cNvPr id="6185" name="Line 15"/>
              <p:cNvSpPr>
                <a:spLocks noChangeShapeType="1"/>
              </p:cNvSpPr>
              <p:nvPr/>
            </p:nvSpPr>
            <p:spPr bwMode="auto">
              <a:xfrm flipV="1">
                <a:off x="1184275" y="3313113"/>
                <a:ext cx="3195638" cy="247650"/>
              </a:xfrm>
              <a:prstGeom prst="line">
                <a:avLst/>
              </a:prstGeom>
              <a:noFill/>
              <a:ln w="76200">
                <a:solidFill>
                  <a:srgbClr val="B2B2B2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TW" altLang="en-US"/>
              </a:p>
            </p:txBody>
          </p:sp>
        </p:grpSp>
        <p:grpSp>
          <p:nvGrpSpPr>
            <p:cNvPr id="4" name="群組 1"/>
            <p:cNvGrpSpPr>
              <a:grpSpLocks/>
            </p:cNvGrpSpPr>
            <p:nvPr/>
          </p:nvGrpSpPr>
          <p:grpSpPr bwMode="auto">
            <a:xfrm>
              <a:off x="226218" y="1277957"/>
              <a:ext cx="8691563" cy="5306201"/>
              <a:chOff x="101600" y="963498"/>
              <a:chExt cx="8691563" cy="5306201"/>
            </a:xfrm>
          </p:grpSpPr>
          <p:sp>
            <p:nvSpPr>
              <p:cNvPr id="6163" name="Line 68"/>
              <p:cNvSpPr>
                <a:spLocks noChangeShapeType="1"/>
              </p:cNvSpPr>
              <p:nvPr/>
            </p:nvSpPr>
            <p:spPr bwMode="auto">
              <a:xfrm>
                <a:off x="4203700" y="1700212"/>
                <a:ext cx="255068" cy="1687299"/>
              </a:xfrm>
              <a:prstGeom prst="line">
                <a:avLst/>
              </a:prstGeom>
              <a:noFill/>
              <a:ln w="76200">
                <a:solidFill>
                  <a:srgbClr val="B2B2B2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TW" altLang="en-US"/>
              </a:p>
            </p:txBody>
          </p:sp>
          <p:sp>
            <p:nvSpPr>
              <p:cNvPr id="6164" name="Line 13"/>
              <p:cNvSpPr>
                <a:spLocks noChangeShapeType="1"/>
              </p:cNvSpPr>
              <p:nvPr/>
            </p:nvSpPr>
            <p:spPr bwMode="auto">
              <a:xfrm flipH="1" flipV="1">
                <a:off x="4503738" y="3343274"/>
                <a:ext cx="190665" cy="1854305"/>
              </a:xfrm>
              <a:prstGeom prst="line">
                <a:avLst/>
              </a:prstGeom>
              <a:noFill/>
              <a:ln w="76200">
                <a:solidFill>
                  <a:srgbClr val="B2B2B2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endParaRPr lang="zh-TW" altLang="en-US"/>
              </a:p>
            </p:txBody>
          </p:sp>
          <p:sp>
            <p:nvSpPr>
              <p:cNvPr id="6165" name="Oval 58"/>
              <p:cNvSpPr>
                <a:spLocks noChangeArrowheads="1"/>
              </p:cNvSpPr>
              <p:nvPr/>
            </p:nvSpPr>
            <p:spPr bwMode="gray">
              <a:xfrm rot="-417327">
                <a:off x="2465388" y="2314575"/>
                <a:ext cx="3802062" cy="1898650"/>
              </a:xfrm>
              <a:prstGeom prst="ellipse">
                <a:avLst/>
              </a:prstGeom>
              <a:gradFill rotWithShape="1">
                <a:gsLst>
                  <a:gs pos="0">
                    <a:srgbClr val="99FF99"/>
                  </a:gs>
                  <a:gs pos="100000">
                    <a:srgbClr val="99FFCC"/>
                  </a:gs>
                </a:gsLst>
                <a:lin ang="2700000" scaled="1"/>
              </a:gradFill>
              <a:ln w="9525">
                <a:round/>
                <a:headEnd/>
                <a:tailEnd/>
              </a:ln>
              <a:scene3d>
                <a:camera prst="legacyPerspectiveBottom"/>
                <a:lightRig rig="legacyFlat1" dir="t"/>
              </a:scene3d>
              <a:sp3d extrusionH="887400" prstMaterial="legacyMatte">
                <a:bevelT w="13500" h="13500" prst="angle"/>
                <a:bevelB w="13500" h="13500" prst="angle"/>
                <a:extrusionClr>
                  <a:srgbClr val="009999"/>
                </a:extrusionClr>
              </a:sp3d>
            </p:spPr>
            <p:txBody>
              <a:bodyPr wrap="none" anchor="ctr">
                <a:flatTx/>
              </a:bodyPr>
              <a:lstStyle/>
              <a:p>
                <a:pPr algn="ctr"/>
                <a:endParaRPr lang="zh-TW" altLang="en-US">
                  <a:ea typeface="新細明體" charset="-120"/>
                </a:endParaRPr>
              </a:p>
            </p:txBody>
          </p:sp>
          <p:sp>
            <p:nvSpPr>
              <p:cNvPr id="6166" name="Oval 10"/>
              <p:cNvSpPr>
                <a:spLocks noChangeArrowheads="1"/>
              </p:cNvSpPr>
              <p:nvPr/>
            </p:nvSpPr>
            <p:spPr bwMode="auto">
              <a:xfrm rot="-342635">
                <a:off x="946150" y="1612900"/>
                <a:ext cx="6918325" cy="3776663"/>
              </a:xfrm>
              <a:prstGeom prst="ellipse">
                <a:avLst/>
              </a:prstGeom>
              <a:noFill/>
              <a:ln w="57150" algn="ctr">
                <a:solidFill>
                  <a:srgbClr val="B2B2B2"/>
                </a:solidFill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 algn="ctr"/>
                <a:endParaRPr lang="zh-TW" altLang="en-US">
                  <a:ea typeface="新細明體" charset="-120"/>
                </a:endParaRPr>
              </a:p>
            </p:txBody>
          </p:sp>
          <p:sp>
            <p:nvSpPr>
              <p:cNvPr id="6167" name="Text Box 61"/>
              <p:cNvSpPr txBox="1">
                <a:spLocks noChangeArrowheads="1"/>
              </p:cNvSpPr>
              <p:nvPr/>
            </p:nvSpPr>
            <p:spPr bwMode="black">
              <a:xfrm>
                <a:off x="3114675" y="2613025"/>
                <a:ext cx="2543175" cy="1293813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r>
                  <a:rPr lang="zh-TW" altLang="en-US" sz="2400" b="1" dirty="0">
                    <a:latin typeface="標楷體" pitchFamily="65" charset="-120"/>
                    <a:ea typeface="標楷體" pitchFamily="65" charset="-120"/>
                  </a:rPr>
                  <a:t>學生學習為主體</a:t>
                </a:r>
                <a:endParaRPr lang="en-US" altLang="zh-TW" sz="2400" b="1" dirty="0">
                  <a:latin typeface="標楷體" pitchFamily="65" charset="-120"/>
                  <a:ea typeface="標楷體" pitchFamily="65" charset="-120"/>
                </a:endParaRPr>
              </a:p>
              <a:p>
                <a:r>
                  <a:rPr lang="zh-TW" altLang="en-US" sz="2400" b="1" dirty="0">
                    <a:latin typeface="標楷體" pitchFamily="65" charset="-120"/>
                    <a:ea typeface="標楷體" pitchFamily="65" charset="-120"/>
                  </a:rPr>
                  <a:t>生活經驗為重點</a:t>
                </a:r>
                <a:endParaRPr lang="en-US" altLang="zh-TW" sz="2400" b="1" dirty="0">
                  <a:latin typeface="標楷體" pitchFamily="65" charset="-120"/>
                  <a:ea typeface="標楷體" pitchFamily="65" charset="-120"/>
                </a:endParaRPr>
              </a:p>
              <a:p>
                <a:r>
                  <a:rPr lang="zh-TW" altLang="en-US" sz="2400" b="1" dirty="0">
                    <a:latin typeface="標楷體" pitchFamily="65" charset="-120"/>
                    <a:ea typeface="標楷體" pitchFamily="65" charset="-120"/>
                  </a:rPr>
                  <a:t>公民素養為核心</a:t>
                </a:r>
                <a:endParaRPr lang="en-US" altLang="zh-TW" sz="2400" b="1" dirty="0">
                  <a:latin typeface="標楷體" pitchFamily="65" charset="-120"/>
                  <a:ea typeface="標楷體" pitchFamily="65" charset="-120"/>
                </a:endParaRPr>
              </a:p>
            </p:txBody>
          </p:sp>
          <p:grpSp>
            <p:nvGrpSpPr>
              <p:cNvPr id="5" name="Group 81"/>
              <p:cNvGrpSpPr>
                <a:grpSpLocks/>
              </p:cNvGrpSpPr>
              <p:nvPr/>
            </p:nvGrpSpPr>
            <p:grpSpPr bwMode="auto">
              <a:xfrm rot="-517775">
                <a:off x="3290819" y="963498"/>
                <a:ext cx="1843088" cy="999731"/>
                <a:chOff x="3098" y="249"/>
                <a:chExt cx="1959" cy="642"/>
              </a:xfrm>
            </p:grpSpPr>
            <p:sp>
              <p:nvSpPr>
                <p:cNvPr id="6182" name="Oval 82"/>
                <p:cNvSpPr>
                  <a:spLocks noChangeArrowheads="1"/>
                </p:cNvSpPr>
                <p:nvPr/>
              </p:nvSpPr>
              <p:spPr bwMode="ltGray">
                <a:xfrm>
                  <a:off x="3099" y="297"/>
                  <a:ext cx="1950" cy="594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636363"/>
                    </a:gs>
                    <a:gs pos="50000">
                      <a:srgbClr val="B2B2B2"/>
                    </a:gs>
                    <a:gs pos="100000">
                      <a:srgbClr val="636363"/>
                    </a:gs>
                  </a:gsLst>
                  <a:lin ang="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zh-TW" altLang="en-US">
                    <a:ea typeface="新細明體" charset="-120"/>
                  </a:endParaRPr>
                </a:p>
              </p:txBody>
            </p:sp>
            <p:sp>
              <p:nvSpPr>
                <p:cNvPr id="6183" name="Oval 83"/>
                <p:cNvSpPr>
                  <a:spLocks noChangeArrowheads="1"/>
                </p:cNvSpPr>
                <p:nvPr/>
              </p:nvSpPr>
              <p:spPr bwMode="ltGray">
                <a:xfrm>
                  <a:off x="3098" y="249"/>
                  <a:ext cx="1959" cy="58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C0C0C0"/>
                    </a:gs>
                    <a:gs pos="100000">
                      <a:srgbClr val="EAEAEA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zh-TW" altLang="en-US">
                    <a:ea typeface="新細明體" charset="-120"/>
                  </a:endParaRPr>
                </a:p>
              </p:txBody>
            </p:sp>
          </p:grpSp>
          <p:grpSp>
            <p:nvGrpSpPr>
              <p:cNvPr id="6" name="Group 86"/>
              <p:cNvGrpSpPr>
                <a:grpSpLocks/>
              </p:cNvGrpSpPr>
              <p:nvPr/>
            </p:nvGrpSpPr>
            <p:grpSpPr bwMode="auto">
              <a:xfrm rot="-208054">
                <a:off x="6681788" y="2532063"/>
                <a:ext cx="2111375" cy="1217612"/>
                <a:chOff x="3098" y="249"/>
                <a:chExt cx="1959" cy="629"/>
              </a:xfrm>
            </p:grpSpPr>
            <p:sp>
              <p:nvSpPr>
                <p:cNvPr id="6180" name="Oval 87"/>
                <p:cNvSpPr>
                  <a:spLocks noChangeArrowheads="1"/>
                </p:cNvSpPr>
                <p:nvPr/>
              </p:nvSpPr>
              <p:spPr bwMode="ltGray">
                <a:xfrm>
                  <a:off x="3099" y="297"/>
                  <a:ext cx="1958" cy="58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636363"/>
                    </a:gs>
                    <a:gs pos="50000">
                      <a:srgbClr val="B2B2B2"/>
                    </a:gs>
                    <a:gs pos="100000">
                      <a:srgbClr val="636363"/>
                    </a:gs>
                  </a:gsLst>
                  <a:lin ang="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zh-TW" altLang="en-US">
                    <a:ea typeface="新細明體" charset="-120"/>
                  </a:endParaRPr>
                </a:p>
              </p:txBody>
            </p:sp>
            <p:sp>
              <p:nvSpPr>
                <p:cNvPr id="6181" name="Oval 88"/>
                <p:cNvSpPr>
                  <a:spLocks noChangeArrowheads="1"/>
                </p:cNvSpPr>
                <p:nvPr/>
              </p:nvSpPr>
              <p:spPr bwMode="ltGray">
                <a:xfrm>
                  <a:off x="3098" y="249"/>
                  <a:ext cx="1959" cy="58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C0C0C0"/>
                    </a:gs>
                    <a:gs pos="100000">
                      <a:srgbClr val="EAEAEA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zh-TW" altLang="en-US">
                    <a:ea typeface="新細明體" charset="-120"/>
                  </a:endParaRPr>
                </a:p>
              </p:txBody>
            </p:sp>
          </p:grpSp>
          <p:grpSp>
            <p:nvGrpSpPr>
              <p:cNvPr id="7" name="Group 91"/>
              <p:cNvGrpSpPr>
                <a:grpSpLocks/>
              </p:cNvGrpSpPr>
              <p:nvPr/>
            </p:nvGrpSpPr>
            <p:grpSpPr bwMode="auto">
              <a:xfrm rot="-198351">
                <a:off x="3380577" y="4696487"/>
                <a:ext cx="2635250" cy="1573212"/>
                <a:chOff x="2949" y="244"/>
                <a:chExt cx="1959" cy="629"/>
              </a:xfrm>
            </p:grpSpPr>
            <p:sp>
              <p:nvSpPr>
                <p:cNvPr id="6178" name="Oval 92"/>
                <p:cNvSpPr>
                  <a:spLocks noChangeArrowheads="1"/>
                </p:cNvSpPr>
                <p:nvPr/>
              </p:nvSpPr>
              <p:spPr bwMode="ltGray">
                <a:xfrm>
                  <a:off x="2950" y="292"/>
                  <a:ext cx="1958" cy="58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636363"/>
                    </a:gs>
                    <a:gs pos="50000">
                      <a:srgbClr val="B2B2B2"/>
                    </a:gs>
                    <a:gs pos="100000">
                      <a:srgbClr val="636363"/>
                    </a:gs>
                  </a:gsLst>
                  <a:lin ang="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zh-TW" altLang="en-US">
                    <a:ea typeface="新細明體" charset="-120"/>
                  </a:endParaRPr>
                </a:p>
              </p:txBody>
            </p:sp>
            <p:sp>
              <p:nvSpPr>
                <p:cNvPr id="6179" name="Oval 93"/>
                <p:cNvSpPr>
                  <a:spLocks noChangeArrowheads="1"/>
                </p:cNvSpPr>
                <p:nvPr/>
              </p:nvSpPr>
              <p:spPr bwMode="ltGray">
                <a:xfrm>
                  <a:off x="2949" y="244"/>
                  <a:ext cx="1959" cy="58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C0C0C0"/>
                    </a:gs>
                    <a:gs pos="100000">
                      <a:srgbClr val="EAEAEA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zh-TW" altLang="en-US">
                    <a:ea typeface="新細明體" charset="-120"/>
                  </a:endParaRPr>
                </a:p>
              </p:txBody>
            </p:sp>
          </p:grpSp>
          <p:grpSp>
            <p:nvGrpSpPr>
              <p:cNvPr id="8" name="Group 96"/>
              <p:cNvGrpSpPr>
                <a:grpSpLocks/>
              </p:cNvGrpSpPr>
              <p:nvPr/>
            </p:nvGrpSpPr>
            <p:grpSpPr bwMode="auto">
              <a:xfrm rot="-293188">
                <a:off x="101600" y="2914650"/>
                <a:ext cx="2057400" cy="1235075"/>
                <a:chOff x="3098" y="249"/>
                <a:chExt cx="1959" cy="629"/>
              </a:xfrm>
            </p:grpSpPr>
            <p:sp>
              <p:nvSpPr>
                <p:cNvPr id="6176" name="Oval 97"/>
                <p:cNvSpPr>
                  <a:spLocks noChangeArrowheads="1"/>
                </p:cNvSpPr>
                <p:nvPr/>
              </p:nvSpPr>
              <p:spPr bwMode="ltGray">
                <a:xfrm>
                  <a:off x="3099" y="297"/>
                  <a:ext cx="1958" cy="58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636363"/>
                    </a:gs>
                    <a:gs pos="50000">
                      <a:srgbClr val="B2B2B2"/>
                    </a:gs>
                    <a:gs pos="100000">
                      <a:srgbClr val="636363"/>
                    </a:gs>
                  </a:gsLst>
                  <a:lin ang="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zh-TW" altLang="en-US">
                    <a:ea typeface="新細明體" charset="-120"/>
                  </a:endParaRPr>
                </a:p>
              </p:txBody>
            </p:sp>
            <p:sp>
              <p:nvSpPr>
                <p:cNvPr id="6177" name="Oval 98"/>
                <p:cNvSpPr>
                  <a:spLocks noChangeArrowheads="1"/>
                </p:cNvSpPr>
                <p:nvPr/>
              </p:nvSpPr>
              <p:spPr bwMode="ltGray">
                <a:xfrm>
                  <a:off x="3098" y="249"/>
                  <a:ext cx="1959" cy="581"/>
                </a:xfrm>
                <a:prstGeom prst="ellipse">
                  <a:avLst/>
                </a:prstGeom>
                <a:gradFill rotWithShape="1">
                  <a:gsLst>
                    <a:gs pos="0">
                      <a:srgbClr val="C0C0C0"/>
                    </a:gs>
                    <a:gs pos="100000">
                      <a:srgbClr val="EAEAEA"/>
                    </a:gs>
                  </a:gsLst>
                  <a:lin ang="5400000" scaled="1"/>
                </a:gradFill>
                <a:ln w="9525" algn="ctr">
                  <a:noFill/>
                  <a:round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zh-TW" altLang="en-US">
                    <a:ea typeface="新細明體" charset="-120"/>
                  </a:endParaRPr>
                </a:p>
              </p:txBody>
            </p:sp>
          </p:grpSp>
          <p:sp>
            <p:nvSpPr>
              <p:cNvPr id="6172" name="Text Box 101"/>
              <p:cNvSpPr txBox="1">
                <a:spLocks noChangeArrowheads="1"/>
              </p:cNvSpPr>
              <p:nvPr/>
            </p:nvSpPr>
            <p:spPr bwMode="auto">
              <a:xfrm>
                <a:off x="3302000" y="977468"/>
                <a:ext cx="1776967" cy="811645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zh-TW" altLang="en-US" sz="2200" dirty="0">
                    <a:solidFill>
                      <a:srgbClr val="333333"/>
                    </a:solidFill>
                    <a:latin typeface="標楷體" pitchFamily="65" charset="-120"/>
                    <a:ea typeface="標楷體" pitchFamily="65" charset="-120"/>
                  </a:rPr>
                  <a:t>公民身分</a:t>
                </a:r>
                <a:br>
                  <a:rPr lang="en-US" altLang="zh-TW" sz="2200" dirty="0">
                    <a:solidFill>
                      <a:srgbClr val="333333"/>
                    </a:solidFill>
                    <a:latin typeface="標楷體" pitchFamily="65" charset="-120"/>
                    <a:ea typeface="標楷體" pitchFamily="65" charset="-120"/>
                  </a:rPr>
                </a:br>
                <a:r>
                  <a:rPr lang="zh-TW" altLang="en-US" sz="2200" dirty="0">
                    <a:solidFill>
                      <a:srgbClr val="333333"/>
                    </a:solidFill>
                    <a:latin typeface="標楷體" pitchFamily="65" charset="-120"/>
                    <a:ea typeface="標楷體" pitchFamily="65" charset="-120"/>
                  </a:rPr>
                  <a:t>認同及社群</a:t>
                </a:r>
                <a:endParaRPr lang="en-US" altLang="zh-TW" sz="2200" dirty="0">
                  <a:solidFill>
                    <a:srgbClr val="333333"/>
                  </a:solidFill>
                  <a:latin typeface="標楷體" pitchFamily="65" charset="-120"/>
                  <a:ea typeface="標楷體" pitchFamily="65" charset="-120"/>
                </a:endParaRPr>
              </a:p>
            </p:txBody>
          </p:sp>
          <p:sp>
            <p:nvSpPr>
              <p:cNvPr id="6173" name="Text Box 102"/>
              <p:cNvSpPr txBox="1">
                <a:spLocks noChangeArrowheads="1"/>
              </p:cNvSpPr>
              <p:nvPr/>
            </p:nvSpPr>
            <p:spPr bwMode="auto">
              <a:xfrm>
                <a:off x="6856413" y="2741613"/>
                <a:ext cx="1770062" cy="76835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zh-TW" altLang="en-US" sz="2200" dirty="0">
                    <a:solidFill>
                      <a:srgbClr val="333333"/>
                    </a:solidFill>
                    <a:latin typeface="標楷體" pitchFamily="65" charset="-120"/>
                    <a:ea typeface="標楷體" pitchFamily="65" charset="-120"/>
                  </a:rPr>
                  <a:t>社會生活的組織及制度</a:t>
                </a:r>
                <a:endParaRPr lang="en-US" altLang="zh-TW" sz="2200" dirty="0">
                  <a:solidFill>
                    <a:srgbClr val="333333"/>
                  </a:solidFill>
                  <a:latin typeface="標楷體" pitchFamily="65" charset="-120"/>
                  <a:ea typeface="標楷體" pitchFamily="65" charset="-120"/>
                </a:endParaRPr>
              </a:p>
            </p:txBody>
          </p:sp>
          <p:sp>
            <p:nvSpPr>
              <p:cNvPr id="6174" name="Text Box 103"/>
              <p:cNvSpPr txBox="1">
                <a:spLocks noChangeArrowheads="1"/>
              </p:cNvSpPr>
              <p:nvPr/>
            </p:nvSpPr>
            <p:spPr bwMode="auto">
              <a:xfrm>
                <a:off x="3503003" y="5115830"/>
                <a:ext cx="2495550" cy="768350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zh-TW" altLang="en-US" sz="2200">
                    <a:solidFill>
                      <a:srgbClr val="333333"/>
                    </a:solidFill>
                    <a:latin typeface="標楷體" pitchFamily="65" charset="-120"/>
                    <a:ea typeface="標楷體" pitchFamily="65" charset="-120"/>
                  </a:rPr>
                  <a:t>社會的運作、治理及參與實踐</a:t>
                </a:r>
                <a:endParaRPr lang="en-US" altLang="zh-TW" sz="2200">
                  <a:solidFill>
                    <a:srgbClr val="333333"/>
                  </a:solidFill>
                  <a:latin typeface="標楷體" pitchFamily="65" charset="-120"/>
                  <a:ea typeface="標楷體" pitchFamily="65" charset="-120"/>
                </a:endParaRPr>
              </a:p>
            </p:txBody>
          </p:sp>
          <p:sp>
            <p:nvSpPr>
              <p:cNvPr id="6175" name="Text Box 104"/>
              <p:cNvSpPr txBox="1">
                <a:spLocks noChangeArrowheads="1"/>
              </p:cNvSpPr>
              <p:nvPr/>
            </p:nvSpPr>
            <p:spPr bwMode="auto">
              <a:xfrm>
                <a:off x="163862" y="3117850"/>
                <a:ext cx="1791938" cy="817077"/>
              </a:xfrm>
              <a:prstGeom prst="rect">
                <a:avLst/>
              </a:prstGeom>
              <a:noFill/>
              <a:ln w="9525" algn="ctr">
                <a:noFill/>
                <a:miter lim="800000"/>
                <a:headEnd/>
                <a:tailEnd/>
              </a:ln>
              <a:effectLst/>
            </p:spPr>
            <p:txBody>
              <a:bodyPr wrap="square">
                <a:spAutoFit/>
              </a:bodyPr>
              <a:lstStyle/>
              <a:p>
                <a:pPr algn="ctr">
                  <a:spcBef>
                    <a:spcPct val="50000"/>
                  </a:spcBef>
                </a:pPr>
                <a:r>
                  <a:rPr lang="zh-TW" altLang="en-US" sz="2200" dirty="0">
                    <a:solidFill>
                      <a:srgbClr val="333333"/>
                    </a:solidFill>
                    <a:latin typeface="標楷體" pitchFamily="65" charset="-120"/>
                    <a:ea typeface="標楷體" pitchFamily="65" charset="-120"/>
                  </a:rPr>
                  <a:t>民主社會的理想及現實</a:t>
                </a:r>
                <a:endParaRPr lang="en-US" altLang="zh-TW" sz="2200" dirty="0">
                  <a:solidFill>
                    <a:srgbClr val="333333"/>
                  </a:solidFill>
                  <a:latin typeface="標楷體" pitchFamily="65" charset="-120"/>
                  <a:ea typeface="標楷體" pitchFamily="65" charset="-120"/>
                </a:endParaRPr>
              </a:p>
            </p:txBody>
          </p:sp>
        </p:grpSp>
      </p:grpSp>
      <p:grpSp>
        <p:nvGrpSpPr>
          <p:cNvPr id="9" name="群組 6"/>
          <p:cNvGrpSpPr>
            <a:grpSpLocks/>
          </p:cNvGrpSpPr>
          <p:nvPr/>
        </p:nvGrpSpPr>
        <p:grpSpPr bwMode="auto">
          <a:xfrm>
            <a:off x="251520" y="1087176"/>
            <a:ext cx="2689225" cy="1088493"/>
            <a:chOff x="328909" y="1105438"/>
            <a:chExt cx="2688627" cy="1088326"/>
          </a:xfrm>
        </p:grpSpPr>
        <p:sp>
          <p:nvSpPr>
            <p:cNvPr id="6159" name="圓角矩形 4"/>
            <p:cNvSpPr>
              <a:spLocks noChangeArrowheads="1"/>
            </p:cNvSpPr>
            <p:nvPr/>
          </p:nvSpPr>
          <p:spPr bwMode="auto">
            <a:xfrm>
              <a:off x="328909" y="1143000"/>
              <a:ext cx="2688627" cy="1050764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A4D7EE"/>
                </a:gs>
                <a:gs pos="50000">
                  <a:srgbClr val="C5E5F4"/>
                </a:gs>
                <a:gs pos="100000">
                  <a:srgbClr val="A4D7EE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zh-TW" altLang="en-US">
                <a:ea typeface="新細明體" charset="-120"/>
              </a:endParaRPr>
            </a:p>
          </p:txBody>
        </p:sp>
        <p:sp>
          <p:nvSpPr>
            <p:cNvPr id="6160" name="文字方塊 5"/>
            <p:cNvSpPr txBox="1">
              <a:spLocks noChangeArrowheads="1"/>
            </p:cNvSpPr>
            <p:nvPr/>
          </p:nvSpPr>
          <p:spPr bwMode="auto">
            <a:xfrm>
              <a:off x="413269" y="1105438"/>
              <a:ext cx="2507042" cy="10155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TW" sz="2000" b="1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I</a:t>
              </a:r>
            </a:p>
            <a:p>
              <a:pPr algn="ctr"/>
              <a:r>
                <a:rPr lang="zh-TW" altLang="en-US" sz="2000" b="1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參酌國外教育改革與學科新知的發展趨勢</a:t>
              </a:r>
            </a:p>
          </p:txBody>
        </p:sp>
      </p:grpSp>
      <p:grpSp>
        <p:nvGrpSpPr>
          <p:cNvPr id="10" name="群組 33"/>
          <p:cNvGrpSpPr>
            <a:grpSpLocks/>
          </p:cNvGrpSpPr>
          <p:nvPr/>
        </p:nvGrpSpPr>
        <p:grpSpPr bwMode="auto">
          <a:xfrm>
            <a:off x="6228184" y="974033"/>
            <a:ext cx="2689225" cy="1057620"/>
            <a:chOff x="328909" y="1136306"/>
            <a:chExt cx="2688627" cy="1057458"/>
          </a:xfrm>
        </p:grpSpPr>
        <p:sp>
          <p:nvSpPr>
            <p:cNvPr id="6157" name="圓角矩形 34"/>
            <p:cNvSpPr>
              <a:spLocks noChangeArrowheads="1"/>
            </p:cNvSpPr>
            <p:nvPr/>
          </p:nvSpPr>
          <p:spPr bwMode="auto">
            <a:xfrm>
              <a:off x="328909" y="1143000"/>
              <a:ext cx="2688627" cy="1050764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A4D7EE"/>
                </a:gs>
                <a:gs pos="50000">
                  <a:srgbClr val="C5E5F4"/>
                </a:gs>
                <a:gs pos="100000">
                  <a:srgbClr val="A4D7EE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zh-TW" altLang="en-US">
                <a:ea typeface="新細明體" charset="-120"/>
              </a:endParaRPr>
            </a:p>
          </p:txBody>
        </p:sp>
        <p:sp>
          <p:nvSpPr>
            <p:cNvPr id="6158" name="文字方塊 35"/>
            <p:cNvSpPr txBox="1">
              <a:spLocks noChangeArrowheads="1"/>
            </p:cNvSpPr>
            <p:nvPr/>
          </p:nvSpPr>
          <p:spPr bwMode="auto">
            <a:xfrm>
              <a:off x="393749" y="1136306"/>
              <a:ext cx="2507042" cy="10155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TW" sz="2000" b="1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II</a:t>
              </a:r>
            </a:p>
            <a:p>
              <a:pPr algn="ctr"/>
              <a:r>
                <a:rPr lang="zh-TW" altLang="en-US" sz="2000" b="1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以四大主題整合模式建構及組織學習內容</a:t>
              </a:r>
            </a:p>
          </p:txBody>
        </p:sp>
      </p:grpSp>
      <p:grpSp>
        <p:nvGrpSpPr>
          <p:cNvPr id="11" name="群組 36"/>
          <p:cNvGrpSpPr>
            <a:grpSpLocks/>
          </p:cNvGrpSpPr>
          <p:nvPr/>
        </p:nvGrpSpPr>
        <p:grpSpPr bwMode="auto">
          <a:xfrm>
            <a:off x="107504" y="5517232"/>
            <a:ext cx="2689225" cy="1050925"/>
            <a:chOff x="328909" y="1143000"/>
            <a:chExt cx="2688627" cy="1050764"/>
          </a:xfrm>
        </p:grpSpPr>
        <p:sp>
          <p:nvSpPr>
            <p:cNvPr id="6155" name="圓角矩形 37"/>
            <p:cNvSpPr>
              <a:spLocks noChangeArrowheads="1"/>
            </p:cNvSpPr>
            <p:nvPr/>
          </p:nvSpPr>
          <p:spPr bwMode="auto">
            <a:xfrm>
              <a:off x="328909" y="1143000"/>
              <a:ext cx="2688627" cy="1050764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A4D7EE"/>
                </a:gs>
                <a:gs pos="50000">
                  <a:srgbClr val="C5E5F4"/>
                </a:gs>
                <a:gs pos="100000">
                  <a:srgbClr val="A4D7EE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zh-TW" altLang="en-US">
                <a:ea typeface="新細明體" charset="-120"/>
              </a:endParaRPr>
            </a:p>
          </p:txBody>
        </p:sp>
        <p:sp>
          <p:nvSpPr>
            <p:cNvPr id="6156" name="文字方塊 38"/>
            <p:cNvSpPr txBox="1">
              <a:spLocks noChangeArrowheads="1"/>
            </p:cNvSpPr>
            <p:nvPr/>
          </p:nvSpPr>
          <p:spPr bwMode="auto">
            <a:xfrm>
              <a:off x="395491" y="1149221"/>
              <a:ext cx="2507042" cy="10155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altLang="zh-TW" sz="2000" b="1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IV</a:t>
              </a:r>
            </a:p>
            <a:p>
              <a:pPr algn="ctr"/>
              <a:r>
                <a:rPr lang="zh-TW" altLang="en-US" sz="2000" b="1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可依學習需求將條目彈性轉化為探究活動</a:t>
              </a:r>
            </a:p>
          </p:txBody>
        </p:sp>
      </p:grpSp>
      <p:grpSp>
        <p:nvGrpSpPr>
          <p:cNvPr id="12" name="群組 39"/>
          <p:cNvGrpSpPr>
            <a:grpSpLocks/>
          </p:cNvGrpSpPr>
          <p:nvPr/>
        </p:nvGrpSpPr>
        <p:grpSpPr bwMode="auto">
          <a:xfrm>
            <a:off x="6310497" y="5118447"/>
            <a:ext cx="2689225" cy="1076140"/>
            <a:chOff x="328909" y="1143000"/>
            <a:chExt cx="2688627" cy="1597141"/>
          </a:xfrm>
        </p:grpSpPr>
        <p:sp>
          <p:nvSpPr>
            <p:cNvPr id="6153" name="圓角矩形 40"/>
            <p:cNvSpPr>
              <a:spLocks noChangeArrowheads="1"/>
            </p:cNvSpPr>
            <p:nvPr/>
          </p:nvSpPr>
          <p:spPr bwMode="auto">
            <a:xfrm>
              <a:off x="328909" y="1143000"/>
              <a:ext cx="2688627" cy="1597141"/>
            </a:xfrm>
            <a:prstGeom prst="roundRect">
              <a:avLst>
                <a:gd name="adj" fmla="val 16667"/>
              </a:avLst>
            </a:prstGeom>
            <a:gradFill rotWithShape="1">
              <a:gsLst>
                <a:gs pos="0">
                  <a:srgbClr val="A4D7EE"/>
                </a:gs>
                <a:gs pos="50000">
                  <a:srgbClr val="C5E5F4"/>
                </a:gs>
                <a:gs pos="100000">
                  <a:srgbClr val="A4D7EE"/>
                </a:gs>
              </a:gsLst>
              <a:lin ang="5400000" scaled="1"/>
            </a:gra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ctr"/>
              <a:endParaRPr lang="zh-TW" altLang="en-US" dirty="0">
                <a:ea typeface="新細明體" charset="-120"/>
              </a:endParaRPr>
            </a:p>
          </p:txBody>
        </p:sp>
        <p:sp>
          <p:nvSpPr>
            <p:cNvPr id="6154" name="文字方塊 41"/>
            <p:cNvSpPr txBox="1">
              <a:spLocks noChangeArrowheads="1"/>
            </p:cNvSpPr>
            <p:nvPr/>
          </p:nvSpPr>
          <p:spPr bwMode="auto">
            <a:xfrm>
              <a:off x="442295" y="1143000"/>
              <a:ext cx="2507042" cy="5938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pPr algn="ctr"/>
              <a:r>
                <a:rPr lang="en-US" altLang="zh-TW" sz="2000" b="1" dirty="0">
                  <a:latin typeface="標楷體" panose="03000509000000000000" pitchFamily="65" charset="-120"/>
                  <a:ea typeface="標楷體" panose="03000509000000000000" pitchFamily="65" charset="-120"/>
                </a:rPr>
                <a:t>III</a:t>
              </a:r>
            </a:p>
          </p:txBody>
        </p:sp>
      </p:grpSp>
      <p:graphicFrame>
        <p:nvGraphicFramePr>
          <p:cNvPr id="45" name="資料庫圖表 44"/>
          <p:cNvGraphicFramePr/>
          <p:nvPr>
            <p:extLst>
              <p:ext uri="{D42A27DB-BD31-4B8C-83A1-F6EECF244321}">
                <p14:modId xmlns:p14="http://schemas.microsoft.com/office/powerpoint/2010/main" val="3997616314"/>
              </p:ext>
            </p:extLst>
          </p:nvPr>
        </p:nvGraphicFramePr>
        <p:xfrm>
          <a:off x="0" y="0"/>
          <a:ext cx="9144000" cy="620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3" name="矩形 12"/>
          <p:cNvSpPr/>
          <p:nvPr/>
        </p:nvSpPr>
        <p:spPr>
          <a:xfrm>
            <a:off x="6386143" y="5452583"/>
            <a:ext cx="258312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zh-TW" altLang="en-US" sz="2000" b="1" dirty="0">
                <a:solidFill>
                  <a:prstClr val="black"/>
                </a:solidFill>
                <a:latin typeface="標楷體" panose="03000509000000000000" pitchFamily="65" charset="-120"/>
                <a:ea typeface="標楷體" panose="03000509000000000000" pitchFamily="65" charset="-120"/>
              </a:rPr>
              <a:t>提問方式敘寫學習內容以引導思辨和探究</a:t>
            </a:r>
          </a:p>
        </p:txBody>
      </p:sp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資料庫圖表 44"/>
          <p:cNvGraphicFramePr/>
          <p:nvPr>
            <p:extLst>
              <p:ext uri="{D42A27DB-BD31-4B8C-83A1-F6EECF244321}">
                <p14:modId xmlns:p14="http://schemas.microsoft.com/office/powerpoint/2010/main" val="3220478919"/>
              </p:ext>
            </p:extLst>
          </p:nvPr>
        </p:nvGraphicFramePr>
        <p:xfrm>
          <a:off x="0" y="0"/>
          <a:ext cx="9144000" cy="6206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8" name="表格 4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0785462"/>
              </p:ext>
            </p:extLst>
          </p:nvPr>
        </p:nvGraphicFramePr>
        <p:xfrm>
          <a:off x="452175" y="989759"/>
          <a:ext cx="8360228" cy="5175709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959869">
                  <a:extLst>
                    <a:ext uri="{9D8B030D-6E8A-4147-A177-3AD203B41FA5}">
                      <a16:colId xmlns:a16="http://schemas.microsoft.com/office/drawing/2014/main" val="4031323762"/>
                    </a:ext>
                  </a:extLst>
                </a:gridCol>
                <a:gridCol w="1175492">
                  <a:extLst>
                    <a:ext uri="{9D8B030D-6E8A-4147-A177-3AD203B41FA5}">
                      <a16:colId xmlns:a16="http://schemas.microsoft.com/office/drawing/2014/main" val="535967214"/>
                    </a:ext>
                  </a:extLst>
                </a:gridCol>
                <a:gridCol w="6224867">
                  <a:extLst>
                    <a:ext uri="{9D8B030D-6E8A-4147-A177-3AD203B41FA5}">
                      <a16:colId xmlns:a16="http://schemas.microsoft.com/office/drawing/2014/main" val="4028868899"/>
                    </a:ext>
                  </a:extLst>
                </a:gridCol>
              </a:tblGrid>
              <a:tr h="685033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2000" kern="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教育階段</a:t>
                      </a:r>
                      <a:endParaRPr lang="zh-TW" sz="2000" b="1" kern="100" dirty="0">
                        <a:effectLst/>
                        <a:latin typeface="微軟正黑體" pitchFamily="34" charset="-120"/>
                        <a:ea typeface="微軟正黑體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2000" kern="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公民與社會</a:t>
                      </a:r>
                      <a:r>
                        <a:rPr lang="zh-TW" altLang="en-US" sz="2000" kern="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「學習內容」的架構</a:t>
                      </a:r>
                      <a:endParaRPr lang="zh-TW" sz="2000" b="1" kern="100" dirty="0">
                        <a:effectLst/>
                        <a:latin typeface="微軟正黑體" pitchFamily="34" charset="-120"/>
                        <a:ea typeface="微軟正黑體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894683460"/>
                  </a:ext>
                </a:extLst>
              </a:tr>
              <a:tr h="710979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2000" kern="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國中</a:t>
                      </a:r>
                      <a:endParaRPr lang="zh-TW" sz="2000" b="1" kern="100" dirty="0">
                        <a:effectLst/>
                        <a:latin typeface="微軟正黑體" pitchFamily="34" charset="-120"/>
                        <a:ea typeface="微軟正黑體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lphaUcPeriod"/>
                      </a:pPr>
                      <a:r>
                        <a:rPr lang="zh-TW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公民身分認同及社群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lphaUcPeriod"/>
                      </a:pPr>
                      <a:r>
                        <a:rPr lang="zh-TW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社會生活的組織及制度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lphaUcPeriod"/>
                      </a:pPr>
                      <a:r>
                        <a:rPr lang="zh-TW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社會的運作、治理及參與實踐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lphaUcPeriod"/>
                      </a:pPr>
                      <a:r>
                        <a:rPr lang="zh-TW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民主社會的理想及現實</a:t>
                      </a:r>
                      <a:endParaRPr lang="zh-TW" sz="2000" b="1" kern="100" dirty="0">
                        <a:effectLst/>
                        <a:latin typeface="微軟正黑體" pitchFamily="34" charset="-120"/>
                        <a:ea typeface="微軟正黑體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28800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72521789"/>
                  </a:ext>
                </a:extLst>
              </a:tr>
              <a:tr h="900039">
                <a:tc rowSpan="4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2400" kern="0" dirty="0">
                          <a:effectLst/>
                        </a:rPr>
                        <a:t>普高</a:t>
                      </a:r>
                      <a:endParaRPr lang="zh-TW" sz="2400" kern="100" dirty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400" kern="0" dirty="0">
                          <a:effectLst/>
                        </a:rPr>
                        <a:t> </a:t>
                      </a:r>
                      <a:endParaRPr lang="zh-TW" sz="2400" b="1" kern="100" dirty="0">
                        <a:effectLst/>
                        <a:latin typeface="標楷體" panose="03000509000000000000" pitchFamily="65" charset="-120"/>
                        <a:ea typeface="標楷體" panose="03000509000000000000" pitchFamily="65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2000" kern="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必修</a:t>
                      </a:r>
                      <a:endParaRPr lang="zh-TW" sz="2000" b="1" kern="100" dirty="0">
                        <a:effectLst/>
                        <a:latin typeface="微軟正黑體" pitchFamily="34" charset="-120"/>
                        <a:ea typeface="微軟正黑體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2865018"/>
                  </a:ext>
                </a:extLst>
              </a:tr>
              <a:tr h="433933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2000" kern="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選修</a:t>
                      </a:r>
                      <a:endParaRPr lang="zh-TW" sz="2000" b="1" kern="100" dirty="0">
                        <a:effectLst/>
                        <a:latin typeface="微軟正黑體" pitchFamily="34" charset="-120"/>
                        <a:ea typeface="微軟正黑體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TW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現代社會與經濟</a:t>
                      </a:r>
                      <a:r>
                        <a:rPr lang="zh-TW" altLang="en-US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（</a:t>
                      </a:r>
                      <a:r>
                        <a:rPr lang="en-US" altLang="zh-TW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E</a:t>
                      </a:r>
                      <a:r>
                        <a:rPr lang="zh-TW" altLang="en-US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F</a:t>
                      </a:r>
                      <a:r>
                        <a:rPr lang="zh-TW" altLang="en-US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兩主題）</a:t>
                      </a:r>
                      <a:endParaRPr lang="zh-TW" sz="2000" b="1" kern="100" dirty="0">
                        <a:effectLst/>
                        <a:latin typeface="微軟正黑體" pitchFamily="34" charset="-120"/>
                        <a:ea typeface="微軟正黑體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288000" marR="68580" marT="0" marB="0" anchor="ctr"/>
                </a:tc>
                <a:extLst>
                  <a:ext uri="{0D108BD9-81ED-4DB2-BD59-A6C34878D82A}">
                    <a16:rowId xmlns:a16="http://schemas.microsoft.com/office/drawing/2014/main" val="1579788338"/>
                  </a:ext>
                </a:extLst>
              </a:tr>
              <a:tr h="433933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TW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民主政治與法律</a:t>
                      </a:r>
                      <a:r>
                        <a:rPr lang="zh-TW" altLang="en-US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（</a:t>
                      </a:r>
                      <a:r>
                        <a:rPr lang="en-US" altLang="zh-TW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G</a:t>
                      </a:r>
                      <a:r>
                        <a:rPr lang="zh-TW" altLang="en-US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、</a:t>
                      </a:r>
                      <a:r>
                        <a:rPr lang="en-US" altLang="zh-TW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H</a:t>
                      </a:r>
                      <a:r>
                        <a:rPr lang="zh-TW" altLang="en-US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兩主題）</a:t>
                      </a:r>
                      <a:endParaRPr lang="zh-TW" sz="2000" b="1" kern="100" dirty="0">
                        <a:effectLst/>
                        <a:latin typeface="微軟正黑體" pitchFamily="34" charset="-120"/>
                        <a:ea typeface="微軟正黑體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288000" marR="68580" marT="0" marB="0" anchor="ctr"/>
                </a:tc>
                <a:extLst>
                  <a:ext uri="{0D108BD9-81ED-4DB2-BD59-A6C34878D82A}">
                    <a16:rowId xmlns:a16="http://schemas.microsoft.com/office/drawing/2014/main" val="3329622212"/>
                  </a:ext>
                </a:extLst>
              </a:tr>
              <a:tr h="433933"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zh-TW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探究與實作：公共議題與社會探究</a:t>
                      </a:r>
                      <a:endParaRPr lang="zh-TW" sz="2000" b="1" kern="100" dirty="0">
                        <a:effectLst/>
                        <a:latin typeface="微軟正黑體" pitchFamily="34" charset="-120"/>
                        <a:ea typeface="微軟正黑體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288000" marR="68580" marT="0" marB="0" anchor="ctr"/>
                </a:tc>
                <a:extLst>
                  <a:ext uri="{0D108BD9-81ED-4DB2-BD59-A6C34878D82A}">
                    <a16:rowId xmlns:a16="http://schemas.microsoft.com/office/drawing/2014/main" val="3881649833"/>
                  </a:ext>
                </a:extLst>
              </a:tr>
              <a:tr h="733333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2000" kern="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綜高</a:t>
                      </a:r>
                      <a:endParaRPr lang="zh-TW" sz="2000" b="1" kern="100" dirty="0">
                        <a:effectLst/>
                        <a:latin typeface="微軟正黑體" pitchFamily="34" charset="-120"/>
                        <a:ea typeface="微軟正黑體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lphaUcPeriod"/>
                      </a:pPr>
                      <a:r>
                        <a:rPr lang="zh-TW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公民身分認同及社群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lphaUcPeriod"/>
                      </a:pPr>
                      <a:r>
                        <a:rPr lang="zh-TW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社會生活的組織及制度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lphaUcPeriod"/>
                      </a:pPr>
                      <a:r>
                        <a:rPr lang="zh-TW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社會的運作、治理及參與實踐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+mj-lt"/>
                        <a:buAutoNum type="alphaUcPeriod"/>
                      </a:pPr>
                      <a:r>
                        <a:rPr lang="zh-TW" sz="2000" kern="10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民主社會的理想及現實</a:t>
                      </a:r>
                      <a:endParaRPr lang="zh-TW" sz="2000" b="1" kern="100" dirty="0">
                        <a:effectLst/>
                        <a:latin typeface="微軟正黑體" pitchFamily="34" charset="-120"/>
                        <a:ea typeface="微軟正黑體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28800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5087404"/>
                  </a:ext>
                </a:extLst>
              </a:tr>
              <a:tr h="844526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2000" kern="0" dirty="0">
                          <a:effectLst/>
                          <a:latin typeface="微軟正黑體" pitchFamily="34" charset="-120"/>
                          <a:ea typeface="微軟正黑體" pitchFamily="34" charset="-120"/>
                        </a:rPr>
                        <a:t>技高</a:t>
                      </a:r>
                      <a:endParaRPr lang="zh-TW" sz="2000" b="1" kern="100" dirty="0">
                        <a:effectLst/>
                        <a:latin typeface="微軟正黑體" pitchFamily="34" charset="-120"/>
                        <a:ea typeface="微軟正黑體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zh-TW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71776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909570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標題 55"/>
          <p:cNvSpPr txBox="1">
            <a:spLocks/>
          </p:cNvSpPr>
          <p:nvPr/>
        </p:nvSpPr>
        <p:spPr>
          <a:xfrm>
            <a:off x="0" y="343975"/>
            <a:ext cx="9144000" cy="720080"/>
          </a:xfrm>
          <a:prstGeom prst="rect">
            <a:avLst/>
          </a:prstGeom>
          <a:noFill/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關於「探究與實作」</a:t>
            </a:r>
            <a:endParaRPr lang="en-US" altLang="zh-TW" sz="3600" b="1" spc="4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sp>
        <p:nvSpPr>
          <p:cNvPr id="10" name="內容版面配置區 9"/>
          <p:cNvSpPr>
            <a:spLocks noGrp="1"/>
          </p:cNvSpPr>
          <p:nvPr>
            <p:ph idx="1"/>
          </p:nvPr>
        </p:nvSpPr>
        <p:spPr>
          <a:xfrm>
            <a:off x="472967" y="1222513"/>
            <a:ext cx="8261130" cy="4954450"/>
          </a:xfrm>
        </p:spPr>
        <p:txBody>
          <a:bodyPr>
            <a:normAutofit/>
          </a:bodyPr>
          <a:lstStyle/>
          <a:p>
            <a:pPr marL="725488" indent="-725488">
              <a:buNone/>
            </a:pPr>
            <a:r>
              <a:rPr lang="zh-TW" altLang="en-US" dirty="0">
                <a:latin typeface="標楷體" panose="03000509000000000000" pitchFamily="65" charset="-120"/>
                <a:ea typeface="標楷體" panose="03000509000000000000" pitchFamily="65" charset="-120"/>
              </a:rPr>
              <a:t>一、改變過於</a:t>
            </a:r>
            <a:r>
              <a:rPr lang="zh-TW" altLang="zh-TW" dirty="0">
                <a:latin typeface="標楷體" panose="03000509000000000000" pitchFamily="65" charset="-120"/>
                <a:ea typeface="標楷體" panose="03000509000000000000" pitchFamily="65" charset="-120"/>
              </a:rPr>
              <a:t>偏重知識內容傳遞</a:t>
            </a:r>
            <a:r>
              <a:rPr lang="zh-TW" altLang="en-US" dirty="0">
                <a:latin typeface="標楷體" panose="03000509000000000000" pitchFamily="65" charset="-120"/>
                <a:ea typeface="標楷體" panose="03000509000000000000" pitchFamily="65" charset="-120"/>
              </a:rPr>
              <a:t>的教學現況</a:t>
            </a:r>
            <a:r>
              <a:rPr lang="zh-TW" altLang="zh-TW" dirty="0">
                <a:latin typeface="標楷體" panose="03000509000000000000" pitchFamily="65" charset="-120"/>
                <a:ea typeface="標楷體" panose="03000509000000000000" pitchFamily="65" charset="-120"/>
              </a:rPr>
              <a:t>，</a:t>
            </a:r>
            <a:r>
              <a:rPr lang="zh-TW" altLang="en-US" dirty="0">
                <a:latin typeface="標楷體" panose="03000509000000000000" pitchFamily="65" charset="-120"/>
                <a:ea typeface="標楷體" panose="03000509000000000000" pitchFamily="65" charset="-120"/>
              </a:rPr>
              <a:t>提升</a:t>
            </a:r>
            <a:r>
              <a:rPr lang="zh-TW" altLang="zh-TW" dirty="0">
                <a:latin typeface="標楷體" panose="03000509000000000000" pitchFamily="65" charset="-120"/>
                <a:ea typeface="標楷體" panose="03000509000000000000" pitchFamily="65" charset="-120"/>
              </a:rPr>
              <a:t>學生高層次思考與實作能力。</a:t>
            </a:r>
            <a:endParaRPr lang="en-US" altLang="zh-TW" dirty="0">
              <a:latin typeface="標楷體" panose="03000509000000000000" pitchFamily="65" charset="-120"/>
              <a:ea typeface="標楷體" panose="03000509000000000000" pitchFamily="65" charset="-120"/>
            </a:endParaRPr>
          </a:p>
          <a:p>
            <a:pPr marL="725488" indent="-725488">
              <a:buNone/>
            </a:pPr>
            <a:r>
              <a:rPr lang="zh-TW" altLang="en-US" dirty="0">
                <a:latin typeface="標楷體" pitchFamily="65" charset="-120"/>
                <a:ea typeface="標楷體" pitchFamily="65" charset="-120"/>
              </a:rPr>
              <a:t>二、強化學生自主學習的意願與能力，發展溝通互動與團隊協作的習慣，提升學習成效。</a:t>
            </a:r>
          </a:p>
          <a:p>
            <a:pPr marL="725488" indent="-725488">
              <a:buNone/>
            </a:pPr>
            <a:r>
              <a:rPr lang="zh-TW" altLang="en-US" dirty="0">
                <a:latin typeface="標楷體" pitchFamily="65" charset="-120"/>
                <a:ea typeface="標楷體" pitchFamily="65" charset="-120"/>
              </a:rPr>
              <a:t>三、結合日常生活與社區鄉土，培養社會領域敏覺關懷、同理尊重、自省珍視的情意態度。</a:t>
            </a:r>
          </a:p>
          <a:p>
            <a:pPr marL="725488" indent="-725488">
              <a:buNone/>
            </a:pPr>
            <a:r>
              <a:rPr lang="zh-TW" altLang="en-US" dirty="0">
                <a:latin typeface="標楷體" pitchFamily="65" charset="-120"/>
                <a:ea typeface="標楷體" pitchFamily="65" charset="-120"/>
              </a:rPr>
              <a:t>四、幫助學生嘗試進行未來學術或職業生涯的探究選擇。</a:t>
            </a:r>
            <a:endParaRPr lang="en-US" altLang="zh-TW" dirty="0">
              <a:latin typeface="標楷體" pitchFamily="65" charset="-120"/>
              <a:ea typeface="標楷體" pitchFamily="65" charset="-120"/>
            </a:endParaRPr>
          </a:p>
          <a:p>
            <a:pPr marL="725488" indent="-725488">
              <a:buNone/>
            </a:pPr>
            <a:r>
              <a:rPr lang="zh-TW" altLang="en-US" dirty="0">
                <a:latin typeface="標楷體" pitchFamily="65" charset="-120"/>
                <a:ea typeface="標楷體" pitchFamily="65" charset="-120"/>
              </a:rPr>
              <a:t>五、整體而言，呼應總綱的素養學習，朝向適性揚才理想邁進。</a:t>
            </a:r>
          </a:p>
        </p:txBody>
      </p:sp>
    </p:spTree>
    <p:extLst>
      <p:ext uri="{BB962C8B-B14F-4D97-AF65-F5344CB8AC3E}">
        <p14:creationId xmlns:p14="http://schemas.microsoft.com/office/powerpoint/2010/main" val="2828896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標題 55"/>
          <p:cNvSpPr txBox="1">
            <a:spLocks/>
          </p:cNvSpPr>
          <p:nvPr/>
        </p:nvSpPr>
        <p:spPr>
          <a:xfrm>
            <a:off x="0" y="403609"/>
            <a:ext cx="9144000" cy="720080"/>
          </a:xfrm>
          <a:prstGeom prst="rect">
            <a:avLst/>
          </a:prstGeom>
          <a:noFill/>
          <a:ln w="25400" cap="flat" cmpd="sng" algn="ctr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關於「探究與實作」</a:t>
            </a:r>
            <a:endParaRPr lang="en-US" altLang="zh-TW" sz="3600" b="1" spc="400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itchFamily="34" charset="-120"/>
              <a:ea typeface="微軟正黑體" pitchFamily="34" charset="-120"/>
            </a:endParaRPr>
          </a:p>
        </p:txBody>
      </p:sp>
      <p:graphicFrame>
        <p:nvGraphicFramePr>
          <p:cNvPr id="5" name="表格 4">
            <a:hlinkClick r:id="rId3"/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79358105"/>
              </p:ext>
            </p:extLst>
          </p:nvPr>
        </p:nvGraphicFramePr>
        <p:xfrm>
          <a:off x="458803" y="1290171"/>
          <a:ext cx="8226393" cy="45808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283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42362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774467">
                  <a:extLst>
                    <a:ext uri="{9D8B030D-6E8A-4147-A177-3AD203B41FA5}">
                      <a16:colId xmlns:a16="http://schemas.microsoft.com/office/drawing/2014/main" val="3322083383"/>
                    </a:ext>
                  </a:extLst>
                </a:gridCol>
              </a:tblGrid>
              <a:tr h="415030">
                <a:tc>
                  <a:txBody>
                    <a:bodyPr/>
                    <a:lstStyle/>
                    <a:p>
                      <a:endParaRPr lang="zh-TW" altLang="en-US" sz="2000" dirty="0">
                        <a:latin typeface="標楷體" pitchFamily="65" charset="-120"/>
                        <a:ea typeface="標楷體" pitchFamily="65" charset="-12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2000" dirty="0">
                          <a:latin typeface="標楷體" pitchFamily="65" charset="-120"/>
                          <a:ea typeface="標楷體" pitchFamily="65" charset="-120"/>
                        </a:rPr>
                        <a:t>普通型高中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2000" dirty="0">
                          <a:latin typeface="標楷體" pitchFamily="65" charset="-120"/>
                          <a:ea typeface="標楷體" pitchFamily="65" charset="-120"/>
                        </a:rPr>
                        <a:t>技術型高中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47055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2000" dirty="0">
                          <a:latin typeface="標楷體" pitchFamily="65" charset="-120"/>
                          <a:ea typeface="標楷體" pitchFamily="65" charset="-120"/>
                        </a:rPr>
                        <a:t>目的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r>
                        <a:rPr lang="zh-TW" altLang="en-US" sz="2000" dirty="0">
                          <a:latin typeface="標楷體" pitchFamily="65" charset="-120"/>
                          <a:ea typeface="標楷體" pitchFamily="65" charset="-120"/>
                        </a:rPr>
                        <a:t>「探究與實作」是整合社會領域的學科內容知識、含有探究本質的實作課程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TW" altLang="en-US" sz="2000" dirty="0">
                        <a:latin typeface="標楷體" pitchFamily="65" charset="-120"/>
                        <a:ea typeface="標楷體" pitchFamily="65" charset="-12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12591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2000" dirty="0">
                          <a:latin typeface="標楷體" pitchFamily="65" charset="-120"/>
                          <a:ea typeface="標楷體" pitchFamily="65" charset="-120"/>
                        </a:rPr>
                        <a:t>特色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strike="noStrike" dirty="0">
                          <a:latin typeface="標楷體" pitchFamily="65" charset="-120"/>
                          <a:ea typeface="標楷體" pitchFamily="65" charset="-120"/>
                        </a:rPr>
                        <a:t>‧</a:t>
                      </a:r>
                      <a:r>
                        <a:rPr lang="zh-TW" altLang="en-US" sz="2000" dirty="0">
                          <a:latin typeface="標楷體" pitchFamily="65" charset="-120"/>
                          <a:ea typeface="標楷體" pitchFamily="65" charset="-120"/>
                        </a:rPr>
                        <a:t>加深加廣選修</a:t>
                      </a:r>
                      <a:endParaRPr lang="en-US" altLang="zh-TW" sz="2000" dirty="0">
                        <a:latin typeface="標楷體" pitchFamily="65" charset="-120"/>
                        <a:ea typeface="標楷體" pitchFamily="65" charset="-12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strike="noStrike" dirty="0">
                          <a:latin typeface="標楷體" pitchFamily="65" charset="-120"/>
                          <a:ea typeface="標楷體" pitchFamily="65" charset="-120"/>
                        </a:rPr>
                        <a:t>‧</a:t>
                      </a:r>
                      <a:r>
                        <a:rPr lang="zh-TW" altLang="en-US" sz="2000" strike="noStrike" dirty="0">
                          <a:latin typeface="標楷體" pitchFamily="65" charset="-120"/>
                          <a:ea typeface="標楷體" pitchFamily="65" charset="-120"/>
                        </a:rPr>
                        <a:t>分科設計</a:t>
                      </a:r>
                      <a:endParaRPr lang="en-US" altLang="zh-TW" sz="2000" strike="noStrike" dirty="0">
                        <a:latin typeface="標楷體" pitchFamily="65" charset="-120"/>
                        <a:ea typeface="標楷體" pitchFamily="65" charset="-120"/>
                      </a:endParaRPr>
                    </a:p>
                    <a:p>
                      <a:pPr marL="263525" indent="-263525"/>
                      <a:r>
                        <a:rPr lang="en-US" altLang="zh-TW" sz="2000" dirty="0">
                          <a:latin typeface="標楷體" pitchFamily="65" charset="-120"/>
                          <a:ea typeface="標楷體" pitchFamily="65" charset="-120"/>
                        </a:rPr>
                        <a:t>‧</a:t>
                      </a:r>
                      <a:r>
                        <a:rPr lang="zh-TW" altLang="en-US" sz="2000" dirty="0">
                          <a:latin typeface="標楷體" pitchFamily="65" charset="-120"/>
                          <a:ea typeface="標楷體" pitchFamily="65" charset="-120"/>
                        </a:rPr>
                        <a:t>三科學科方法的系統化。</a:t>
                      </a:r>
                      <a:endParaRPr lang="en-US" altLang="zh-TW" sz="2000" dirty="0">
                        <a:latin typeface="標楷體" pitchFamily="65" charset="-120"/>
                        <a:ea typeface="標楷體" pitchFamily="65" charset="-120"/>
                      </a:endParaRPr>
                    </a:p>
                    <a:p>
                      <a:pPr marL="263525" indent="-263525"/>
                      <a:r>
                        <a:rPr lang="en-US" altLang="zh-TW" sz="2000" dirty="0">
                          <a:latin typeface="標楷體" pitchFamily="65" charset="-120"/>
                          <a:ea typeface="標楷體" pitchFamily="65" charset="-120"/>
                        </a:rPr>
                        <a:t>‧</a:t>
                      </a:r>
                      <a:r>
                        <a:rPr lang="zh-TW" altLang="en-US" sz="2000" dirty="0">
                          <a:latin typeface="標楷體" pitchFamily="65" charset="-120"/>
                          <a:ea typeface="標楷體" pitchFamily="65" charset="-120"/>
                        </a:rPr>
                        <a:t>三科透過探究問題的選擇，將該科的學科方法運用在跨科</a:t>
                      </a:r>
                      <a:r>
                        <a:rPr lang="en-US" altLang="zh-TW" sz="2000" dirty="0">
                          <a:latin typeface="標楷體" pitchFamily="65" charset="-120"/>
                          <a:ea typeface="標楷體" pitchFamily="65" charset="-120"/>
                        </a:rPr>
                        <a:t>/</a:t>
                      </a:r>
                      <a:r>
                        <a:rPr lang="zh-TW" altLang="en-US" sz="2000" dirty="0">
                          <a:latin typeface="標楷體" pitchFamily="65" charset="-120"/>
                          <a:ea typeface="標楷體" pitchFamily="65" charset="-120"/>
                        </a:rPr>
                        <a:t>跨領域的主題研究。</a:t>
                      </a:r>
                      <a:endParaRPr lang="en-US" altLang="zh-TW" sz="2000" dirty="0">
                        <a:latin typeface="標楷體" pitchFamily="65" charset="-120"/>
                        <a:ea typeface="標楷體" pitchFamily="65" charset="-120"/>
                      </a:endParaRPr>
                    </a:p>
                    <a:p>
                      <a:pPr marL="263525" marR="0" lvl="0" indent="-2635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dirty="0">
                          <a:latin typeface="標楷體" pitchFamily="65" charset="-120"/>
                          <a:ea typeface="標楷體" pitchFamily="65" charset="-120"/>
                        </a:rPr>
                        <a:t>‧</a:t>
                      </a:r>
                      <a:r>
                        <a:rPr lang="zh-TW" altLang="en-US" sz="2000" strike="noStrike" dirty="0">
                          <a:latin typeface="標楷體" pitchFamily="65" charset="-120"/>
                          <a:ea typeface="標楷體" pitchFamily="65" charset="-120"/>
                        </a:rPr>
                        <a:t>銜接不同進路大學院校教育之需要。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dirty="0">
                          <a:latin typeface="標楷體" pitchFamily="65" charset="-120"/>
                          <a:ea typeface="標楷體" pitchFamily="65" charset="-120"/>
                        </a:rPr>
                        <a:t>‧</a:t>
                      </a:r>
                      <a:r>
                        <a:rPr lang="zh-TW" altLang="en-US" sz="2000" dirty="0">
                          <a:latin typeface="標楷體" pitchFamily="65" charset="-120"/>
                          <a:ea typeface="標楷體" pitchFamily="65" charset="-120"/>
                        </a:rPr>
                        <a:t>必修</a:t>
                      </a:r>
                      <a:endParaRPr lang="en-US" altLang="zh-TW" sz="2000" dirty="0">
                        <a:latin typeface="標楷體" pitchFamily="65" charset="-120"/>
                        <a:ea typeface="標楷體" pitchFamily="65" charset="-12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TW" sz="2000" dirty="0">
                          <a:latin typeface="標楷體" pitchFamily="65" charset="-120"/>
                          <a:ea typeface="標楷體" pitchFamily="65" charset="-120"/>
                        </a:rPr>
                        <a:t>‧</a:t>
                      </a:r>
                      <a:r>
                        <a:rPr lang="zh-TW" altLang="en-US" sz="2000" dirty="0">
                          <a:latin typeface="標楷體" pitchFamily="65" charset="-120"/>
                          <a:ea typeface="標楷體" pitchFamily="65" charset="-120"/>
                        </a:rPr>
                        <a:t>統整設計</a:t>
                      </a:r>
                      <a:endParaRPr lang="en-US" altLang="zh-TW" sz="2000" dirty="0">
                        <a:latin typeface="標楷體" pitchFamily="65" charset="-120"/>
                        <a:ea typeface="標楷體" pitchFamily="65" charset="-120"/>
                      </a:endParaRPr>
                    </a:p>
                    <a:p>
                      <a:pPr marL="263525" indent="-263525"/>
                      <a:r>
                        <a:rPr lang="en-US" altLang="zh-TW" sz="2000" dirty="0">
                          <a:latin typeface="標楷體" pitchFamily="65" charset="-120"/>
                          <a:ea typeface="標楷體" pitchFamily="65" charset="-120"/>
                        </a:rPr>
                        <a:t>‧</a:t>
                      </a:r>
                      <a:r>
                        <a:rPr lang="zh-TW" altLang="en-US" sz="2000" dirty="0">
                          <a:latin typeface="標楷體" pitchFamily="65" charset="-120"/>
                          <a:ea typeface="標楷體" pitchFamily="65" charset="-120"/>
                        </a:rPr>
                        <a:t>提供社會領域統整探究的參考示例，教師可彈性靈活運用。</a:t>
                      </a:r>
                      <a:endParaRPr lang="en-US" altLang="zh-TW" sz="2000" dirty="0">
                        <a:latin typeface="標楷體" pitchFamily="65" charset="-120"/>
                        <a:ea typeface="標楷體" pitchFamily="65" charset="-120"/>
                      </a:endParaRPr>
                    </a:p>
                  </a:txBody>
                  <a:tcPr>
                    <a:lnB w="12700" cmpd="sng"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006144">
                <a:tc>
                  <a:txBody>
                    <a:bodyPr/>
                    <a:lstStyle/>
                    <a:p>
                      <a:pPr algn="ctr"/>
                      <a:r>
                        <a:rPr lang="zh-TW" altLang="en-US" sz="2000" dirty="0">
                          <a:latin typeface="標楷體" pitchFamily="65" charset="-120"/>
                          <a:ea typeface="標楷體" pitchFamily="65" charset="-120"/>
                        </a:rPr>
                        <a:t>開課</a:t>
                      </a:r>
                      <a:endParaRPr lang="en-US" altLang="zh-TW" sz="2000" dirty="0">
                        <a:latin typeface="標楷體" pitchFamily="65" charset="-120"/>
                        <a:ea typeface="標楷體" pitchFamily="65" charset="-120"/>
                      </a:endParaRPr>
                    </a:p>
                    <a:p>
                      <a:pPr algn="ctr"/>
                      <a:r>
                        <a:rPr lang="zh-TW" altLang="en-US" sz="2000" dirty="0">
                          <a:latin typeface="標楷體" pitchFamily="65" charset="-120"/>
                          <a:ea typeface="標楷體" pitchFamily="65" charset="-120"/>
                        </a:rPr>
                        <a:t>方式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TW" altLang="en-US" sz="2000" strike="noStrike" dirty="0">
                          <a:latin typeface="標楷體" pitchFamily="65" charset="-120"/>
                          <a:ea typeface="標楷體" pitchFamily="65" charset="-120"/>
                        </a:rPr>
                        <a:t>「探究與實作」為專題類課程，學校可依學生生涯規劃、學校發展特色、師資調配（含協同教學）等彈性組合開課，提供跨科目</a:t>
                      </a:r>
                      <a:r>
                        <a:rPr lang="en-US" altLang="zh-TW" sz="2000" strike="noStrike" dirty="0">
                          <a:latin typeface="標楷體" pitchFamily="65" charset="-120"/>
                          <a:ea typeface="標楷體" pitchFamily="65" charset="-120"/>
                        </a:rPr>
                        <a:t>/</a:t>
                      </a:r>
                      <a:r>
                        <a:rPr lang="zh-TW" altLang="en-US" sz="2000" strike="noStrike" dirty="0">
                          <a:latin typeface="標楷體" pitchFamily="65" charset="-120"/>
                          <a:ea typeface="標楷體" pitchFamily="65" charset="-120"/>
                        </a:rPr>
                        <a:t>領域共同備課或協同教學的彈性空間，以深化素養學習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263525" marR="0" lvl="0" indent="-2635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zh-TW" altLang="en-US" sz="2000" strike="noStrike" dirty="0">
                        <a:latin typeface="標楷體" pitchFamily="65" charset="-120"/>
                        <a:ea typeface="標楷體" pitchFamily="65" charset="-120"/>
                      </a:endParaRPr>
                    </a:p>
                  </a:txBody>
                  <a:tcPr>
                    <a:lnT w="12700" cmpd="sng">
                      <a:noFill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21691092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889650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BF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92150" y="2627313"/>
            <a:ext cx="7886700" cy="1325562"/>
          </a:xfrm>
        </p:spPr>
        <p:txBody>
          <a:bodyPr rtlCol="0">
            <a:normAutofit/>
          </a:bodyPr>
          <a:lstStyle/>
          <a:p>
            <a:pPr lvl="1" eaLnBrk="1" fontAlgn="auto" hangingPunct="1">
              <a:spcAft>
                <a:spcPts val="0"/>
              </a:spcAft>
              <a:defRPr/>
            </a:pPr>
            <a:r>
              <a:rPr lang="zh-TW" altLang="en-US" b="1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  <a:cs typeface="+mj-cs"/>
              </a:rPr>
              <a:t>三、多元適性的課綱</a:t>
            </a:r>
          </a:p>
        </p:txBody>
      </p:sp>
      <p:sp>
        <p:nvSpPr>
          <p:cNvPr id="62467" name="投影片編號版面配置區 2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0AF2A69F-4ED0-45E6-AB00-B660198010AD}" type="slidenum">
              <a:rPr lang="zh-TW" altLang="en-US" sz="1200" smtClean="0">
                <a:solidFill>
                  <a:schemeClr val="bg1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44</a:t>
            </a:fld>
            <a:endParaRPr lang="zh-TW" altLang="en-US" sz="1200" dirty="0">
              <a:solidFill>
                <a:schemeClr val="bg1"/>
              </a:solidFill>
            </a:endParaRPr>
          </a:p>
        </p:txBody>
      </p:sp>
      <p:pic>
        <p:nvPicPr>
          <p:cNvPr id="4" name="圖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9319" y="6485835"/>
            <a:ext cx="1220238" cy="233955"/>
          </a:xfrm>
          <a:prstGeom prst="rect">
            <a:avLst/>
          </a:prstGeom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algn="ctr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實施要點（一）課程發展</a:t>
            </a:r>
          </a:p>
        </p:txBody>
      </p:sp>
      <p:sp>
        <p:nvSpPr>
          <p:cNvPr id="66564" name="投影片編號版面配置區 2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2A510EC0-F840-44B5-9FE5-4834F4B14309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45</a:t>
            </a:fld>
            <a:endParaRPr lang="zh-TW" altLang="en-US" sz="1200">
              <a:solidFill>
                <a:srgbClr val="898989"/>
              </a:solidFill>
            </a:endParaRPr>
          </a:p>
        </p:txBody>
      </p:sp>
      <p:graphicFrame>
        <p:nvGraphicFramePr>
          <p:cNvPr id="4" name="資料庫圖表 3">
            <a:extLst>
              <a:ext uri="{FF2B5EF4-FFF2-40B4-BE49-F238E27FC236}">
                <a16:creationId xmlns:a16="http://schemas.microsoft.com/office/drawing/2014/main" id="{76D78041-5D24-498C-9E37-322B08B837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57283454"/>
              </p:ext>
            </p:extLst>
          </p:nvPr>
        </p:nvGraphicFramePr>
        <p:xfrm>
          <a:off x="1171387" y="1486646"/>
          <a:ext cx="6741459" cy="453763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>
            <a:extLst>
              <a:ext uri="{FF2B5EF4-FFF2-40B4-BE49-F238E27FC236}">
                <a16:creationId xmlns:a16="http://schemas.microsoft.com/office/drawing/2014/main" id="{2D8202D1-A65E-4E5C-B44F-EEB86BC30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zh-TW" altLang="en-US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</a:rPr>
              <a:t>實施要點（二）教材編選</a:t>
            </a:r>
            <a:endParaRPr lang="zh-TW" altLang="en-US" dirty="0"/>
          </a:p>
        </p:txBody>
      </p:sp>
      <p:sp>
        <p:nvSpPr>
          <p:cNvPr id="3" name="投影片編號版面配置區 2">
            <a:extLst>
              <a:ext uri="{FF2B5EF4-FFF2-40B4-BE49-F238E27FC236}">
                <a16:creationId xmlns:a16="http://schemas.microsoft.com/office/drawing/2014/main" id="{2C026E4F-AA22-4239-9C36-DBBA7405CC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06355B4-B271-4125-861E-3044BF1D5AED}" type="slidenum">
              <a:rPr lang="zh-TW" altLang="en-US" smtClean="0"/>
              <a:pPr>
                <a:defRPr/>
              </a:pPr>
              <a:t>46</a:t>
            </a:fld>
            <a:endParaRPr lang="zh-TW" altLang="en-US"/>
          </a:p>
        </p:txBody>
      </p:sp>
      <p:graphicFrame>
        <p:nvGraphicFramePr>
          <p:cNvPr id="7" name="資料庫圖表 6">
            <a:extLst>
              <a:ext uri="{FF2B5EF4-FFF2-40B4-BE49-F238E27FC236}">
                <a16:creationId xmlns:a16="http://schemas.microsoft.com/office/drawing/2014/main" id="{22F56799-5434-43C0-BFF9-0FA68B425D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01247389"/>
              </p:ext>
            </p:extLst>
          </p:nvPr>
        </p:nvGraphicFramePr>
        <p:xfrm>
          <a:off x="630144" y="1690688"/>
          <a:ext cx="7885206" cy="44531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6025433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algn="ctr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實施要點（三）教學實施</a:t>
            </a:r>
          </a:p>
        </p:txBody>
      </p:sp>
      <p:sp>
        <p:nvSpPr>
          <p:cNvPr id="69636" name="投影片編號版面配置區 2"/>
          <p:cNvSpPr>
            <a:spLocks noGrp="1"/>
          </p:cNvSpPr>
          <p:nvPr>
            <p:ph type="sldNum" sz="quarter" idx="12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638539DA-DB2D-4F94-AC00-F698556135EB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47</a:t>
            </a:fld>
            <a:endParaRPr lang="zh-TW" altLang="en-US" sz="1200">
              <a:solidFill>
                <a:srgbClr val="898989"/>
              </a:solidFill>
            </a:endParaRPr>
          </a:p>
        </p:txBody>
      </p:sp>
      <p:graphicFrame>
        <p:nvGraphicFramePr>
          <p:cNvPr id="4" name="資料庫圖表 3">
            <a:extLst>
              <a:ext uri="{FF2B5EF4-FFF2-40B4-BE49-F238E27FC236}">
                <a16:creationId xmlns:a16="http://schemas.microsoft.com/office/drawing/2014/main" id="{A37B5C85-AE1C-458F-BD2F-94D9F38A39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5267472"/>
              </p:ext>
            </p:extLst>
          </p:nvPr>
        </p:nvGraphicFramePr>
        <p:xfrm>
          <a:off x="280894" y="1618130"/>
          <a:ext cx="8496300" cy="458544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527050" y="325438"/>
            <a:ext cx="8345488" cy="800100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實施要點（四）學習評量</a:t>
            </a:r>
          </a:p>
        </p:txBody>
      </p:sp>
      <p:sp>
        <p:nvSpPr>
          <p:cNvPr id="69636" name="投影片編號版面配置區 2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638539DA-DB2D-4F94-AC00-F698556135EB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48</a:t>
            </a:fld>
            <a:endParaRPr lang="zh-TW" altLang="en-US" sz="1200">
              <a:solidFill>
                <a:srgbClr val="898989"/>
              </a:solidFill>
            </a:endParaRPr>
          </a:p>
        </p:txBody>
      </p:sp>
      <p:graphicFrame>
        <p:nvGraphicFramePr>
          <p:cNvPr id="6" name="內容版面配置區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279794712"/>
              </p:ext>
            </p:extLst>
          </p:nvPr>
        </p:nvGraphicFramePr>
        <p:xfrm>
          <a:off x="222375" y="1125538"/>
          <a:ext cx="8538693" cy="51663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508000" y="250825"/>
            <a:ext cx="7886700" cy="974725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議題融入說明</a:t>
            </a:r>
          </a:p>
        </p:txBody>
      </p:sp>
      <p:sp>
        <p:nvSpPr>
          <p:cNvPr id="71683" name="投影片編號版面配置區 3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5055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B12079F0-BE34-4A2B-A664-7D34D0C4EE31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49</a:t>
            </a:fld>
            <a:endParaRPr lang="zh-TW" altLang="en-US" sz="1200">
              <a:solidFill>
                <a:srgbClr val="898989"/>
              </a:solidFill>
            </a:endParaRPr>
          </a:p>
        </p:txBody>
      </p:sp>
      <p:sp>
        <p:nvSpPr>
          <p:cNvPr id="9" name="流程圖: 替代處理程序 8"/>
          <p:cNvSpPr/>
          <p:nvPr/>
        </p:nvSpPr>
        <p:spPr>
          <a:xfrm>
            <a:off x="603624" y="2085974"/>
            <a:ext cx="3520701" cy="4057651"/>
          </a:xfrm>
          <a:prstGeom prst="flowChartAlternateProcess">
            <a:avLst/>
          </a:prstGeom>
          <a:solidFill>
            <a:schemeClr val="accent4">
              <a:lumMod val="60000"/>
              <a:lumOff val="40000"/>
            </a:schemeClr>
          </a:solidFill>
          <a:ln w="38100">
            <a:prstDash val="dashDot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400" dirty="0">
                <a:latin typeface="微軟正黑體" pitchFamily="34" charset="-120"/>
                <a:ea typeface="微軟正黑體" pitchFamily="34" charset="-120"/>
              </a:rPr>
              <a:t>議題具時代性與前瞻性，且常具高度討論性與跨學門性質，其核心價值與社會領域課程目標相契合。議題融入社會領域教學，可幫助本領域發展跨學科之統整課程，並擴展本領域之深度與廣度。</a:t>
            </a:r>
          </a:p>
        </p:txBody>
      </p:sp>
      <p:sp>
        <p:nvSpPr>
          <p:cNvPr id="10" name="流程圖: 文件 9"/>
          <p:cNvSpPr/>
          <p:nvPr/>
        </p:nvSpPr>
        <p:spPr>
          <a:xfrm>
            <a:off x="4451350" y="1416425"/>
            <a:ext cx="4306888" cy="4985964"/>
          </a:xfrm>
          <a:prstGeom prst="flowChartDocument">
            <a:avLst/>
          </a:prstGeom>
          <a:ln w="28575">
            <a:prstDash val="solid"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lnSpc>
                <a:spcPct val="2000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en-US" altLang="zh-TW" sz="20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marL="87313" eaLnBrk="1" fontAlgn="auto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2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本領域課程綱要「</a:t>
            </a:r>
            <a:r>
              <a:rPr lang="zh-TW" altLang="en-US" sz="2000" b="1" u="sng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附錄二</a:t>
            </a:r>
            <a:r>
              <a:rPr lang="zh-TW" altLang="en-US" sz="2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」明列「性別平等教育、人權教育、環境教育、海洋教育」議題之學習主題與實質內涵。而原住民族教育、品德教育、多元文化教育、國際教育、法治教育、戶外教育、資訊教育、閱讀素養教育等議題內涵的融入，亦能呼應社會領域之學習重點，深化與拓展本領域的學習。</a:t>
            </a:r>
            <a:endParaRPr lang="zh-TW" altLang="en-US" dirty="0"/>
          </a:p>
        </p:txBody>
      </p:sp>
      <p:pic>
        <p:nvPicPr>
          <p:cNvPr id="71686" name="圖片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400" t="37250" r="7040" b="11534"/>
          <a:stretch>
            <a:fillRect/>
          </a:stretch>
        </p:blipFill>
        <p:spPr bwMode="auto">
          <a:xfrm>
            <a:off x="658813" y="714375"/>
            <a:ext cx="1741487" cy="113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內容版面配置區 4"/>
          <p:cNvGraphicFramePr>
            <a:graphicFrameLocks noGrp="1"/>
          </p:cNvGraphicFramePr>
          <p:nvPr>
            <p:ph idx="4294967295"/>
          </p:nvPr>
        </p:nvGraphicFramePr>
        <p:xfrm>
          <a:off x="642910" y="1000294"/>
          <a:ext cx="8352928" cy="50252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1507" name="投影片編號版面配置區 3"/>
          <p:cNvSpPr txBox="1">
            <a:spLocks noGrp="1"/>
          </p:cNvSpPr>
          <p:nvPr/>
        </p:nvSpPr>
        <p:spPr bwMode="auto">
          <a:xfrm>
            <a:off x="7051675" y="6492875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BF1CE2EE-5432-4B5D-AD5A-03018AC49998}" type="slidenum">
              <a:rPr lang="zh-TW" altLang="en-US" sz="1200">
                <a:solidFill>
                  <a:srgbClr val="898989"/>
                </a:solidFill>
                <a:latin typeface="Times New Roman" panose="02020603050405020304" pitchFamily="18" charset="0"/>
                <a:ea typeface="標楷體" panose="03000509000000000000" pitchFamily="65" charset="-120"/>
              </a:rPr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5</a:t>
            </a:fld>
            <a:endParaRPr lang="zh-TW" altLang="en-US" sz="1200">
              <a:solidFill>
                <a:srgbClr val="898989"/>
              </a:solidFill>
              <a:latin typeface="Times New Roman" panose="02020603050405020304" pitchFamily="18" charset="0"/>
              <a:ea typeface="標楷體" panose="03000509000000000000" pitchFamily="65" charset="-120"/>
            </a:endParaRPr>
          </a:p>
        </p:txBody>
      </p:sp>
      <p:sp>
        <p:nvSpPr>
          <p:cNvPr id="21508" name="AutoShape 9"/>
          <p:cNvSpPr>
            <a:spLocks noChangeArrowheads="1"/>
          </p:cNvSpPr>
          <p:nvPr/>
        </p:nvSpPr>
        <p:spPr bwMode="auto">
          <a:xfrm>
            <a:off x="322262" y="5141299"/>
            <a:ext cx="2160588" cy="1008063"/>
          </a:xfrm>
          <a:prstGeom prst="roundRect">
            <a:avLst>
              <a:gd name="adj" fmla="val 16667"/>
            </a:avLst>
          </a:prstGeom>
          <a:solidFill>
            <a:srgbClr val="D78F8D"/>
          </a:solidFill>
          <a:ln w="38100">
            <a:solidFill>
              <a:srgbClr val="F2F2F2"/>
            </a:solidFill>
            <a:round/>
            <a:headEnd/>
            <a:tailEnd/>
          </a:ln>
          <a:effectLst>
            <a:outerShdw dist="28398" dir="3806097" algn="ctr" rotWithShape="0">
              <a:srgbClr val="622423">
                <a:alpha val="50000"/>
              </a:srgbClr>
            </a:outerShdw>
          </a:effec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algn="ctr" eaLnBrk="1" hangingPunct="1">
              <a:lnSpc>
                <a:spcPct val="96000"/>
              </a:lnSpc>
              <a:spcBef>
                <a:spcPct val="0"/>
              </a:spcBef>
              <a:buFontTx/>
              <a:buNone/>
            </a:pPr>
            <a:endParaRPr lang="en-US" altLang="zh-TW" sz="18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hangingPunct="1">
              <a:lnSpc>
                <a:spcPct val="96000"/>
              </a:lnSpc>
              <a:spcBef>
                <a:spcPct val="0"/>
              </a:spcBef>
              <a:buFontTx/>
              <a:buNone/>
            </a:pPr>
            <a:r>
              <a:rPr lang="zh-TW" altLang="en-US" sz="23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啟發生命潛能</a:t>
            </a:r>
          </a:p>
        </p:txBody>
      </p:sp>
      <p:sp>
        <p:nvSpPr>
          <p:cNvPr id="21509" name="AutoShape 10"/>
          <p:cNvSpPr>
            <a:spLocks noChangeArrowheads="1"/>
          </p:cNvSpPr>
          <p:nvPr/>
        </p:nvSpPr>
        <p:spPr bwMode="auto">
          <a:xfrm>
            <a:off x="2519062" y="5137307"/>
            <a:ext cx="2089150" cy="1008063"/>
          </a:xfrm>
          <a:prstGeom prst="roundRect">
            <a:avLst>
              <a:gd name="adj" fmla="val 16667"/>
            </a:avLst>
          </a:prstGeom>
          <a:solidFill>
            <a:srgbClr val="FFCC66"/>
          </a:solidFill>
          <a:ln w="38100">
            <a:solidFill>
              <a:srgbClr val="F2F2F2"/>
            </a:solidFill>
            <a:round/>
            <a:headEnd/>
            <a:tailEnd/>
          </a:ln>
          <a:effectLst>
            <a:outerShdw dist="28398" dir="3806097" algn="ctr" rotWithShape="0">
              <a:srgbClr val="243F60">
                <a:alpha val="50000"/>
              </a:srgbClr>
            </a:outerShdw>
          </a:effec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algn="ctr" eaLnBrk="1" hangingPunct="1">
              <a:lnSpc>
                <a:spcPct val="96000"/>
              </a:lnSpc>
              <a:spcBef>
                <a:spcPct val="0"/>
              </a:spcBef>
              <a:buFontTx/>
              <a:buNone/>
            </a:pPr>
            <a:endParaRPr lang="en-US" altLang="zh-TW" sz="1800" b="1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hangingPunct="1">
              <a:lnSpc>
                <a:spcPct val="96000"/>
              </a:lnSpc>
              <a:spcBef>
                <a:spcPct val="0"/>
              </a:spcBef>
              <a:buFontTx/>
              <a:buNone/>
            </a:pPr>
            <a:r>
              <a:rPr lang="zh-TW" altLang="en-US" sz="2300" b="1">
                <a:latin typeface="微軟正黑體" panose="020B0604030504040204" pitchFamily="34" charset="-120"/>
                <a:ea typeface="微軟正黑體" panose="020B0604030504040204" pitchFamily="34" charset="-120"/>
              </a:rPr>
              <a:t>陶養生活知能</a:t>
            </a:r>
          </a:p>
        </p:txBody>
      </p:sp>
      <p:sp>
        <p:nvSpPr>
          <p:cNvPr id="21510" name="AutoShape 11"/>
          <p:cNvSpPr>
            <a:spLocks noChangeArrowheads="1"/>
          </p:cNvSpPr>
          <p:nvPr/>
        </p:nvSpPr>
        <p:spPr bwMode="auto">
          <a:xfrm>
            <a:off x="4670597" y="5137307"/>
            <a:ext cx="2087562" cy="1008063"/>
          </a:xfrm>
          <a:prstGeom prst="roundRect">
            <a:avLst>
              <a:gd name="adj" fmla="val 16667"/>
            </a:avLst>
          </a:prstGeom>
          <a:solidFill>
            <a:srgbClr val="67B9CF"/>
          </a:solidFill>
          <a:ln w="38100">
            <a:solidFill>
              <a:srgbClr val="F2F2F2"/>
            </a:solidFill>
            <a:round/>
            <a:headEnd/>
            <a:tailEnd/>
          </a:ln>
          <a:effectLst>
            <a:outerShdw dist="28398" dir="3806097" algn="ctr" rotWithShape="0">
              <a:srgbClr val="205867">
                <a:alpha val="50000"/>
              </a:srgbClr>
            </a:outerShdw>
          </a:effec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algn="ctr" eaLnBrk="1" hangingPunct="1">
              <a:lnSpc>
                <a:spcPct val="96000"/>
              </a:lnSpc>
              <a:spcBef>
                <a:spcPct val="0"/>
              </a:spcBef>
              <a:buFontTx/>
              <a:buNone/>
            </a:pPr>
            <a:endParaRPr lang="en-US" altLang="zh-TW" sz="18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hangingPunct="1">
              <a:lnSpc>
                <a:spcPct val="96000"/>
              </a:lnSpc>
              <a:spcBef>
                <a:spcPct val="0"/>
              </a:spcBef>
              <a:buFontTx/>
              <a:buNone/>
            </a:pPr>
            <a:r>
              <a:rPr lang="zh-TW" altLang="en-US" sz="23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促進生涯發展</a:t>
            </a:r>
          </a:p>
        </p:txBody>
      </p:sp>
      <p:sp>
        <p:nvSpPr>
          <p:cNvPr id="21511" name="AutoShape 12"/>
          <p:cNvSpPr>
            <a:spLocks noChangeArrowheads="1"/>
          </p:cNvSpPr>
          <p:nvPr/>
        </p:nvSpPr>
        <p:spPr bwMode="auto">
          <a:xfrm>
            <a:off x="6804025" y="5137307"/>
            <a:ext cx="2073275" cy="1008063"/>
          </a:xfrm>
          <a:prstGeom prst="roundRect">
            <a:avLst>
              <a:gd name="adj" fmla="val 16667"/>
            </a:avLst>
          </a:prstGeom>
          <a:solidFill>
            <a:srgbClr val="9BBB59"/>
          </a:solidFill>
          <a:ln w="38100">
            <a:solidFill>
              <a:srgbClr val="F2F2F2"/>
            </a:solidFill>
            <a:round/>
            <a:headEnd/>
            <a:tailEnd/>
          </a:ln>
          <a:effectLst>
            <a:outerShdw dist="28398" dir="3806097" algn="ctr" rotWithShape="0">
              <a:srgbClr val="4E6128">
                <a:alpha val="50000"/>
              </a:srgbClr>
            </a:outerShdw>
          </a:effec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algn="ctr" eaLnBrk="1" hangingPunct="1">
              <a:lnSpc>
                <a:spcPct val="96000"/>
              </a:lnSpc>
              <a:spcBef>
                <a:spcPct val="0"/>
              </a:spcBef>
              <a:buFontTx/>
              <a:buNone/>
            </a:pPr>
            <a:endParaRPr lang="en-US" altLang="zh-TW" sz="1800" b="1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algn="ctr" eaLnBrk="1" hangingPunct="1">
              <a:lnSpc>
                <a:spcPct val="96000"/>
              </a:lnSpc>
              <a:spcBef>
                <a:spcPct val="0"/>
              </a:spcBef>
              <a:buFontTx/>
              <a:buNone/>
            </a:pPr>
            <a:r>
              <a:rPr lang="zh-TW" altLang="en-US" sz="2300" b="1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涵育公民責任</a:t>
            </a:r>
          </a:p>
        </p:txBody>
      </p:sp>
      <p:sp>
        <p:nvSpPr>
          <p:cNvPr id="21512" name="文字方塊 9"/>
          <p:cNvSpPr txBox="1">
            <a:spLocks noChangeArrowheads="1"/>
          </p:cNvSpPr>
          <p:nvPr/>
        </p:nvSpPr>
        <p:spPr bwMode="auto">
          <a:xfrm>
            <a:off x="131763" y="1302772"/>
            <a:ext cx="684212" cy="3970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理念</a:t>
            </a:r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願景</a:t>
            </a:r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8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目標</a:t>
            </a:r>
            <a:endParaRPr lang="en-US" altLang="zh-TW" sz="1800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1513" name="標題 1"/>
          <p:cNvSpPr>
            <a:spLocks noGrp="1"/>
          </p:cNvSpPr>
          <p:nvPr>
            <p:ph type="title" idx="4294967295"/>
          </p:nvPr>
        </p:nvSpPr>
        <p:spPr>
          <a:xfrm>
            <a:off x="468313" y="292100"/>
            <a:ext cx="8229600" cy="722313"/>
          </a:xfrm>
        </p:spPr>
        <p:txBody>
          <a:bodyPr/>
          <a:lstStyle/>
          <a:p>
            <a:pPr algn="ctr" eaLnBrk="1" hangingPunct="1">
              <a:defRPr/>
            </a:pPr>
            <a:r>
              <a:rPr lang="zh-TW" alt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總綱的理念與目標</a:t>
            </a:r>
          </a:p>
        </p:txBody>
      </p:sp>
    </p:spTree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628650" y="438150"/>
            <a:ext cx="7886700" cy="785813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議題融入</a:t>
            </a:r>
            <a:r>
              <a:rPr lang="zh-TW" altLang="zh-TW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示例</a:t>
            </a:r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舉隅</a:t>
            </a:r>
          </a:p>
        </p:txBody>
      </p:sp>
      <p:graphicFrame>
        <p:nvGraphicFramePr>
          <p:cNvPr id="4" name="表格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3826509"/>
              </p:ext>
            </p:extLst>
          </p:nvPr>
        </p:nvGraphicFramePr>
        <p:xfrm>
          <a:off x="154079" y="1389084"/>
          <a:ext cx="8815750" cy="4473591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9DCAF9ED-07DC-4A11-8D7F-57B35C25682E}</a:tableStyleId>
              </a:tblPr>
              <a:tblGrid>
                <a:gridCol w="71801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97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2141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51138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0952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7215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議題</a:t>
                      </a:r>
                      <a:endParaRPr lang="zh-TW" sz="1600" b="0" kern="100" dirty="0">
                        <a:solidFill>
                          <a:sysClr val="windowText" lastClr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68576" marR="68576" marT="0" marB="0"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學習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主題</a:t>
                      </a:r>
                      <a:endParaRPr lang="zh-TW" sz="1600" b="0" kern="100" dirty="0">
                        <a:solidFill>
                          <a:sysClr val="windowText" lastClr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68576" marR="68576" marT="0" marB="0"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議題實質內涵</a:t>
                      </a:r>
                      <a:endParaRPr lang="zh-TW" sz="1600" b="0" kern="100" dirty="0">
                        <a:solidFill>
                          <a:sysClr val="windowText" lastClr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68576" marR="68576" marT="0" marB="0"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融入課程綱要學習重點之示例</a:t>
                      </a:r>
                      <a:endParaRPr lang="zh-TW" sz="1600" b="0" kern="100" dirty="0">
                        <a:solidFill>
                          <a:sysClr val="windowText" lastClr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68576" marR="68576" marT="0" marB="0"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sz="1600" kern="100" dirty="0"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說明</a:t>
                      </a:r>
                      <a:endParaRPr lang="zh-TW" sz="1600" b="0" kern="100" dirty="0">
                        <a:solidFill>
                          <a:sysClr val="windowText" lastClr="000000"/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 panose="02020603050405020304" pitchFamily="18" charset="0"/>
                      </a:endParaRPr>
                    </a:p>
                  </a:txBody>
                  <a:tcPr marL="68576" marR="68576" marT="0" marB="0" anchor="ctr"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2836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TW" altLang="en-US" sz="1600" b="0" kern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人權教育</a:t>
                      </a:r>
                      <a:endParaRPr lang="zh-TW" sz="1600" b="0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68576" marR="68576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TW" altLang="en-US" sz="1600" b="0" kern="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人權違反與救濟</a:t>
                      </a:r>
                      <a:endParaRPr lang="zh-TW" sz="1600" b="0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  <a:cs typeface="Times New Roman"/>
                      </a:endParaRPr>
                    </a:p>
                  </a:txBody>
                  <a:tcPr marL="68576" marR="68576" marT="0" marB="0" anchor="ctr"/>
                </a:tc>
                <a:tc>
                  <a:txBody>
                    <a:bodyPr/>
                    <a:lstStyle/>
                    <a:p>
                      <a:pPr marL="449263" indent="-449263" algn="just">
                        <a:spcAft>
                          <a:spcPts val="0"/>
                        </a:spcAft>
                      </a:pPr>
                      <a:r>
                        <a:rPr lang="zh-TW" altLang="en-US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人</a:t>
                      </a:r>
                      <a:r>
                        <a:rPr lang="en-US" altLang="zh-TW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E7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zh-TW" altLang="en-US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認識生活中不公平、不合理、違反規則和健康受到傷害等經驗，並知道如何尋求救助的管道。</a:t>
                      </a:r>
                    </a:p>
                  </a:txBody>
                  <a:tcPr marL="68576" marR="68576" marT="0" marB="0" anchor="ctr"/>
                </a:tc>
                <a:tc>
                  <a:txBody>
                    <a:bodyPr/>
                    <a:lstStyle/>
                    <a:p>
                      <a:pPr marL="533400" indent="-533400" algn="just">
                        <a:spcAft>
                          <a:spcPts val="0"/>
                        </a:spcAft>
                      </a:pPr>
                      <a:r>
                        <a:rPr lang="en-US" altLang="zh-TW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a-Ⅲ-1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zh-TW" altLang="en-US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透過對時事的理解與省思，提出感興趣或令人困惑的現象及社會議題。</a:t>
                      </a:r>
                    </a:p>
                    <a:p>
                      <a:pPr marL="533400" indent="-533400" algn="just">
                        <a:spcAft>
                          <a:spcPts val="0"/>
                        </a:spcAft>
                      </a:pPr>
                      <a:r>
                        <a:rPr lang="en-US" altLang="zh-TW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3d-Ⅱ-1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zh-TW" altLang="en-US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探究問題發生的原因與影響，並尋求解決問題的可能做法。</a:t>
                      </a:r>
                    </a:p>
                    <a:p>
                      <a:pPr marL="533400" indent="-533400" algn="just">
                        <a:spcAft>
                          <a:spcPts val="0"/>
                        </a:spcAft>
                      </a:pPr>
                      <a:r>
                        <a:rPr lang="en-US" altLang="zh-TW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Ac-Ⅱ-2</a:t>
                      </a:r>
                    </a:p>
                    <a:p>
                      <a:pPr marL="0" indent="0" algn="just">
                        <a:spcAft>
                          <a:spcPts val="0"/>
                        </a:spcAft>
                      </a:pPr>
                      <a:r>
                        <a:rPr lang="zh-TW" altLang="en-US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遇到違反人權的事件，可尋求適當的救助管道。</a:t>
                      </a:r>
                    </a:p>
                  </a:txBody>
                  <a:tcPr marL="68576" marR="68576" marT="0" marB="0" anchor="ctr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en-US" altLang="zh-TW" sz="1600" b="0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TW" altLang="en-US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在民主政治、人民的權利義務等相關學習主題中，可以討論與侵害基本人權的新聞時事，引導學生思考這則新聞時事與人權保障的關聯性，以及合宜的救助管道</a:t>
                      </a:r>
                      <a:r>
                        <a:rPr lang="en-US" altLang="zh-TW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(</a:t>
                      </a:r>
                      <a:r>
                        <a:rPr lang="zh-TW" altLang="en-US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它是如何發生的？為什麼會發生？它與哪一種人權保障有關？政府可以做什麼來避免日後發生類似情況？我們自己可以做什麼？如果你是當事人可以做什麼？</a:t>
                      </a:r>
                      <a:r>
                        <a:rPr lang="en-US" altLang="zh-TW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)</a:t>
                      </a:r>
                      <a:r>
                        <a:rPr lang="zh-TW" altLang="en-US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。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zh-TW" altLang="en-US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在學校生活的相關學習主題中，可以從學生經驗中取材，探究校園中常見的人權事件，例如霸凌等，進而</a:t>
                      </a:r>
                      <a:r>
                        <a:rPr lang="zh-TW" altLang="en-US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  <a:cs typeface="+mn-cs"/>
                        </a:rPr>
                        <a:t>認識</a:t>
                      </a:r>
                      <a:r>
                        <a:rPr lang="zh-TW" altLang="en-US" sz="1600" b="0" kern="100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微軟正黑體" panose="020B0604030504040204" pitchFamily="34" charset="-120"/>
                          <a:ea typeface="微軟正黑體" panose="020B0604030504040204" pitchFamily="34" charset="-120"/>
                        </a:rPr>
                        <a:t>相關的救助管道。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zh-TW" altLang="en-US" sz="1600" b="0" kern="10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微軟正黑體" panose="020B0604030504040204" pitchFamily="34" charset="-120"/>
                        <a:ea typeface="微軟正黑體" panose="020B0604030504040204" pitchFamily="34" charset="-120"/>
                      </a:endParaRPr>
                    </a:p>
                  </a:txBody>
                  <a:tcPr marL="68576" marR="68576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文字方塊 4"/>
          <p:cNvSpPr txBox="1"/>
          <p:nvPr/>
        </p:nvSpPr>
        <p:spPr>
          <a:xfrm>
            <a:off x="192267" y="5931459"/>
            <a:ext cx="6647974" cy="33855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摘自</a:t>
            </a:r>
            <a:r>
              <a:rPr lang="en-US" altLang="zh-TW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&lt;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社會領域課程綱要課程手冊</a:t>
            </a:r>
            <a:r>
              <a:rPr lang="en-US" altLang="zh-TW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&gt;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之「陸、社會領域</a:t>
            </a:r>
            <a:r>
              <a:rPr lang="zh-TW" altLang="zh-TW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之議題融入說明</a:t>
            </a:r>
            <a:r>
              <a:rPr lang="zh-TW" altLang="en-US" sz="16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」</a:t>
            </a:r>
          </a:p>
        </p:txBody>
      </p:sp>
      <p:sp>
        <p:nvSpPr>
          <p:cNvPr id="72730" name="投影片編號版面配置區 2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091F094E-672E-4DAA-88B9-05ABD5A68678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50</a:t>
            </a:fld>
            <a:endParaRPr lang="zh-TW" altLang="en-US" sz="1200" dirty="0">
              <a:solidFill>
                <a:srgbClr val="898989"/>
              </a:solidFill>
            </a:endParaRPr>
          </a:p>
        </p:txBody>
      </p:sp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1266825" y="3246438"/>
            <a:ext cx="7886700" cy="1325563"/>
          </a:xfrm>
        </p:spPr>
        <p:txBody>
          <a:bodyPr rtlCol="0">
            <a:noAutofit/>
          </a:bodyPr>
          <a:lstStyle/>
          <a:p>
            <a:pPr algn="ctr" eaLnBrk="1" fontAlgn="auto" hangingPunct="1">
              <a:lnSpc>
                <a:spcPct val="150000"/>
              </a:lnSpc>
              <a:spcAft>
                <a:spcPts val="0"/>
              </a:spcAft>
              <a:defRPr/>
            </a:pPr>
            <a:r>
              <a:rPr lang="zh-TW" altLang="en-US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國教院研發</a:t>
            </a:r>
            <a:br>
              <a:rPr lang="en-US" altLang="zh-TW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r>
              <a:rPr lang="zh-TW" altLang="en-US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之課綱實施支持資源</a:t>
            </a:r>
            <a:br>
              <a:rPr lang="en-US" altLang="zh-TW" sz="3600" b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</a:br>
            <a:endParaRPr lang="zh-TW" altLang="en-US" sz="3600" b="1" dirty="0">
              <a:solidFill>
                <a:srgbClr val="FFC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3731" name="投影片編號版面配置區 2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68407AFE-E38B-4A3D-99D6-7DCFF3BDAB28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51</a:t>
            </a:fld>
            <a:endParaRPr lang="zh-TW" altLang="en-US" sz="1200">
              <a:solidFill>
                <a:srgbClr val="898989"/>
              </a:solidFill>
            </a:endParaRPr>
          </a:p>
        </p:txBody>
      </p:sp>
      <p:sp>
        <p:nvSpPr>
          <p:cNvPr id="15" name="Rectangle 37"/>
          <p:cNvSpPr/>
          <p:nvPr/>
        </p:nvSpPr>
        <p:spPr>
          <a:xfrm>
            <a:off x="8675688" y="3216275"/>
            <a:ext cx="477837" cy="476250"/>
          </a:xfrm>
          <a:prstGeom prst="rect">
            <a:avLst/>
          </a:prstGeom>
          <a:solidFill>
            <a:srgbClr val="70001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altLang="zh-TW" dirty="0">
                <a:solidFill>
                  <a:srgbClr val="70001D"/>
                </a:solidFill>
                <a:latin typeface="Simple-Line-Icons" pitchFamily="2" charset="2"/>
              </a:rPr>
              <a:t></a:t>
            </a:r>
            <a:endParaRPr lang="en-US" altLang="zh-TW" dirty="0">
              <a:solidFill>
                <a:srgbClr val="70001D"/>
              </a:solidFill>
            </a:endParaRPr>
          </a:p>
        </p:txBody>
      </p:sp>
      <p:pic>
        <p:nvPicPr>
          <p:cNvPr id="73733" name="圖片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288" y="0"/>
            <a:ext cx="1295400" cy="228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文字方塊 2"/>
          <p:cNvSpPr txBox="1"/>
          <p:nvPr/>
        </p:nvSpPr>
        <p:spPr>
          <a:xfrm>
            <a:off x="2233613" y="1870075"/>
            <a:ext cx="4084637" cy="8318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zh-TW" altLang="en-US" sz="4800" b="1" dirty="0">
                <a:solidFill>
                  <a:schemeClr val="bg2">
                    <a:lumMod val="1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第三部分</a:t>
            </a:r>
          </a:p>
        </p:txBody>
      </p:sp>
      <p:pic>
        <p:nvPicPr>
          <p:cNvPr id="73735" name="圖片 4"/>
          <p:cNvPicPr>
            <a:picLocks noChangeAspect="1"/>
          </p:cNvPicPr>
          <p:nvPr/>
        </p:nvPicPr>
        <p:blipFill>
          <a:blip r:embed="rId3" cstate="print">
            <a:grayscl/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575" y="5137150"/>
            <a:ext cx="773113" cy="145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圖片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9319" y="6485835"/>
            <a:ext cx="1220238" cy="233955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215900" y="331788"/>
            <a:ext cx="8807450" cy="1325562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社會領域課綱實施相關資源</a:t>
            </a:r>
            <a:r>
              <a:rPr lang="en-US" altLang="zh-TW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-</a:t>
            </a:r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課程手冊</a:t>
            </a:r>
          </a:p>
        </p:txBody>
      </p:sp>
      <p:sp>
        <p:nvSpPr>
          <p:cNvPr id="74756" name="投影片編號版面配置區 3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2E5DFE7A-D1BD-4A23-BF3A-80517B4E86BE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52</a:t>
            </a:fld>
            <a:endParaRPr lang="zh-TW" altLang="en-US" sz="1200">
              <a:solidFill>
                <a:srgbClr val="898989"/>
              </a:solidFill>
            </a:endParaRPr>
          </a:p>
        </p:txBody>
      </p:sp>
      <p:sp>
        <p:nvSpPr>
          <p:cNvPr id="8" name="矩形 7"/>
          <p:cNvSpPr>
            <a:spLocks noChangeArrowheads="1"/>
          </p:cNvSpPr>
          <p:nvPr/>
        </p:nvSpPr>
        <p:spPr bwMode="auto">
          <a:xfrm>
            <a:off x="861236" y="5310050"/>
            <a:ext cx="3019030" cy="247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>
                <a:solidFill>
                  <a:schemeClr val="accent1">
                    <a:lumMod val="50000"/>
                    <a:lumOff val="0"/>
                  </a:schemeClr>
                </a:solidFill>
                <a:miter lim="800000"/>
                <a:headEnd/>
                <a:tailEnd/>
              </a14:hiddenLine>
            </a:ext>
          </a:extLst>
        </p:spPr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ctr">
              <a:spcAft>
                <a:spcPts val="0"/>
              </a:spcAft>
            </a:pPr>
            <a:r>
              <a:rPr lang="zh-TW" sz="800" b="1" kern="1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中</a:t>
            </a:r>
            <a:r>
              <a:rPr lang="en-US" sz="800" b="1" kern="1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  </a:t>
            </a:r>
            <a:r>
              <a:rPr lang="zh-TW" sz="800" b="1" kern="1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華</a:t>
            </a:r>
            <a:r>
              <a:rPr lang="en-US" sz="800" b="1" kern="1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  </a:t>
            </a:r>
            <a:r>
              <a:rPr lang="zh-TW" sz="800" b="1" kern="1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民</a:t>
            </a:r>
            <a:r>
              <a:rPr lang="en-US" sz="800" b="1" kern="1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  </a:t>
            </a:r>
            <a:r>
              <a:rPr lang="zh-TW" sz="800" b="1" kern="1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國</a:t>
            </a:r>
            <a:r>
              <a:rPr lang="en-US" sz="800" b="1" kern="1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  </a:t>
            </a:r>
            <a:r>
              <a:rPr lang="zh-TW" sz="800" b="1" kern="1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一 ○ 七</a:t>
            </a:r>
            <a:r>
              <a:rPr lang="en-US" sz="800" b="1" kern="1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  </a:t>
            </a:r>
            <a:r>
              <a:rPr lang="zh-TW" sz="800" b="1" kern="1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年  五</a:t>
            </a:r>
            <a:r>
              <a:rPr lang="en-US" sz="800" b="1" kern="1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  </a:t>
            </a:r>
            <a:r>
              <a:rPr lang="zh-TW" sz="800" b="1" kern="100" dirty="0">
                <a:solidFill>
                  <a:srgbClr val="FFFFFF"/>
                </a:solidFill>
                <a:effectLst/>
                <a:latin typeface="Calibri" panose="020F0502020204030204" pitchFamily="34" charset="0"/>
                <a:ea typeface="微軟正黑體" panose="020B0604030504040204" pitchFamily="34" charset="-120"/>
                <a:cs typeface="Times New Roman" panose="02020603050405020304" pitchFamily="18" charset="0"/>
              </a:rPr>
              <a:t>月</a:t>
            </a:r>
            <a:endParaRPr lang="zh-TW" sz="800" kern="100" dirty="0">
              <a:effectLst/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861237" y="5897919"/>
            <a:ext cx="77457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網址：</a:t>
            </a:r>
            <a:r>
              <a:rPr lang="en-US" altLang="zh-TW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https://www.naer.edu.tw/files/11-1000-1625.php?Lang=zh-tw</a:t>
            </a:r>
            <a:endParaRPr lang="zh-TW" altLang="en-US" dirty="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9" name="圖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3187">
            <a:off x="418416" y="5897641"/>
            <a:ext cx="3698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圖片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359" y="1445505"/>
            <a:ext cx="3338739" cy="4282064"/>
          </a:xfrm>
          <a:prstGeom prst="rect">
            <a:avLst/>
          </a:prstGeom>
        </p:spPr>
      </p:pic>
      <p:sp>
        <p:nvSpPr>
          <p:cNvPr id="10" name="內容版面配置區 2"/>
          <p:cNvSpPr txBox="1">
            <a:spLocks/>
          </p:cNvSpPr>
          <p:nvPr/>
        </p:nvSpPr>
        <p:spPr>
          <a:xfrm>
            <a:off x="3929388" y="1348033"/>
            <a:ext cx="4903528" cy="4549886"/>
          </a:xfrm>
          <a:prstGeom prst="rect">
            <a:avLst/>
          </a:prstGeom>
        </p:spPr>
        <p:txBody>
          <a:bodyPr rtlCol="0">
            <a:normAutofit fontScale="92500" lnSpcReduction="20000"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US" altLang="zh-TW" sz="2400" cap="all" dirty="0" err="1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" action="ppaction://hlinkfile"/>
              </a:rPr>
              <a:t>壹、發展沿革與特色</a:t>
            </a:r>
            <a:endParaRPr lang="zh-TW" altLang="zh-TW" sz="2400" cap="all" dirty="0">
              <a:solidFill>
                <a:schemeClr val="tx1">
                  <a:lumMod val="95000"/>
                  <a:lumOff val="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altLang="zh-TW" sz="2400" cap="all" dirty="0" err="1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" action="ppaction://hlinkfile"/>
              </a:rPr>
              <a:t>貳、課程架構</a:t>
            </a:r>
            <a:endParaRPr lang="zh-TW" altLang="zh-TW" sz="2400" cap="all" dirty="0">
              <a:solidFill>
                <a:schemeClr val="tx1">
                  <a:lumMod val="95000"/>
                  <a:lumOff val="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altLang="zh-TW" sz="2400" cap="all" dirty="0" err="1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" action="ppaction://hlinkfile"/>
              </a:rPr>
              <a:t>參、核心素養與學習重點呼應說明</a:t>
            </a:r>
            <a:endParaRPr lang="zh-TW" altLang="zh-TW" sz="2400" cap="all" dirty="0">
              <a:solidFill>
                <a:schemeClr val="tx1">
                  <a:lumMod val="95000"/>
                  <a:lumOff val="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altLang="zh-TW" sz="2400" cap="all" dirty="0" err="1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" action="ppaction://hlinkfile"/>
              </a:rPr>
              <a:t>肆、學習重點解析</a:t>
            </a:r>
            <a:endParaRPr lang="zh-TW" altLang="zh-TW" sz="2400" cap="all" dirty="0">
              <a:solidFill>
                <a:schemeClr val="tx1">
                  <a:lumMod val="95000"/>
                  <a:lumOff val="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altLang="zh-TW" sz="2400" cap="all" dirty="0" err="1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" action="ppaction://hlinkfile"/>
              </a:rPr>
              <a:t>伍、素養導向</a:t>
            </a:r>
            <a:r>
              <a:rPr lang="zh-TW" altLang="en-US" sz="2400" cap="all" dirty="0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" action="ppaction://hlinkfile"/>
              </a:rPr>
              <a:t>教學與</a:t>
            </a:r>
            <a:r>
              <a:rPr lang="en-US" altLang="zh-TW" sz="2400" cap="all" dirty="0" err="1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" action="ppaction://hlinkfile"/>
              </a:rPr>
              <a:t>教材編寫原則</a:t>
            </a:r>
            <a:endParaRPr lang="zh-TW" altLang="zh-TW" sz="2400" cap="all" dirty="0">
              <a:solidFill>
                <a:schemeClr val="tx1">
                  <a:lumMod val="95000"/>
                  <a:lumOff val="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altLang="zh-TW" sz="2400" cap="all" dirty="0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" action="ppaction://hlinkfile"/>
              </a:rPr>
              <a:t>陸、</a:t>
            </a:r>
            <a:r>
              <a:rPr lang="zh-TW" altLang="en-US" sz="2400" cap="all" dirty="0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" action="ppaction://hlinkfile"/>
              </a:rPr>
              <a:t>社會領域之</a:t>
            </a:r>
            <a:r>
              <a:rPr lang="en-US" altLang="zh-TW" sz="2400" cap="all" dirty="0" err="1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" action="ppaction://hlinkfile"/>
              </a:rPr>
              <a:t>議題融入說明</a:t>
            </a:r>
            <a:endParaRPr lang="zh-TW" altLang="zh-TW" sz="2400" cap="all" dirty="0">
              <a:solidFill>
                <a:schemeClr val="tx1">
                  <a:lumMod val="95000"/>
                  <a:lumOff val="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en-US" altLang="zh-TW" sz="2400" cap="all" dirty="0" err="1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" action="ppaction://hlinkfile"/>
              </a:rPr>
              <a:t>柒、教學單元案例</a:t>
            </a:r>
            <a:endParaRPr lang="en-US" altLang="zh-TW" sz="2400" cap="all" dirty="0">
              <a:solidFill>
                <a:schemeClr val="tx1">
                  <a:lumMod val="95000"/>
                  <a:lumOff val="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  <a:hlinkClick r:id="" action="ppaction://hlinkfile"/>
            </a:endParaRPr>
          </a:p>
          <a:p>
            <a:pPr eaLnBrk="1" fontAlgn="auto" hangingPunct="1">
              <a:lnSpc>
                <a:spcPct val="110000"/>
              </a:lnSpc>
              <a:spcAft>
                <a:spcPts val="0"/>
              </a:spcAft>
              <a:defRPr/>
            </a:pPr>
            <a:r>
              <a:rPr lang="zh-TW" altLang="en-US" sz="2400" cap="all" dirty="0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" action="ppaction://hlinkfile"/>
              </a:rPr>
              <a:t>捌、新舊課綱之課程實施銜接分析與建議</a:t>
            </a:r>
            <a:endParaRPr lang="zh-TW" altLang="zh-TW" sz="2400" cap="all" dirty="0">
              <a:solidFill>
                <a:schemeClr val="tx1">
                  <a:lumMod val="95000"/>
                  <a:lumOff val="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zh-TW" altLang="en-US" sz="2400" cap="all" dirty="0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" action="ppaction://hlinkfile"/>
              </a:rPr>
              <a:t>玖、</a:t>
            </a:r>
            <a:r>
              <a:rPr lang="en-US" altLang="zh-TW" sz="2400" cap="all" dirty="0" err="1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" action="ppaction://hlinkfile"/>
              </a:rPr>
              <a:t>課綱</a:t>
            </a:r>
            <a:r>
              <a:rPr lang="en-US" altLang="zh-TW" sz="2400" cap="all" dirty="0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" action="ppaction://hlinkfile"/>
              </a:rPr>
              <a:t> Q &amp; A</a:t>
            </a:r>
            <a:endParaRPr lang="en-US" altLang="zh-TW" sz="2400" cap="all" dirty="0">
              <a:solidFill>
                <a:schemeClr val="tx1">
                  <a:lumMod val="95000"/>
                  <a:lumOff val="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fontAlgn="auto" hangingPunct="1">
              <a:lnSpc>
                <a:spcPct val="110000"/>
              </a:lnSpc>
              <a:spcAft>
                <a:spcPts val="0"/>
              </a:spcAft>
              <a:defRPr/>
            </a:pPr>
            <a:r>
              <a:rPr lang="zh-TW" altLang="en-US" sz="2400" cap="all" dirty="0">
                <a:solidFill>
                  <a:schemeClr val="tx1">
                    <a:lumMod val="95000"/>
                    <a:lumOff val="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  <a:hlinkClick r:id="" action="ppaction://hlinkfile"/>
              </a:rPr>
              <a:t>附錄、國民中學教育階段社會領域學習內容統整建議</a:t>
            </a:r>
            <a:endParaRPr lang="zh-TW" altLang="zh-TW" sz="2400" cap="all" dirty="0">
              <a:solidFill>
                <a:schemeClr val="tx1">
                  <a:lumMod val="95000"/>
                  <a:lumOff val="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標題 1"/>
          <p:cNvSpPr>
            <a:spLocks noGrp="1"/>
          </p:cNvSpPr>
          <p:nvPr>
            <p:ph type="title"/>
          </p:nvPr>
        </p:nvSpPr>
        <p:spPr/>
        <p:txBody>
          <a:bodyPr rtlCol="0">
            <a:normAutofit/>
          </a:bodyPr>
          <a:lstStyle/>
          <a:p>
            <a:pPr algn="ctr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社會領域課綱實施教學案例</a:t>
            </a:r>
          </a:p>
        </p:txBody>
      </p:sp>
      <p:sp>
        <p:nvSpPr>
          <p:cNvPr id="75779" name="投影片編號版面配置區 3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547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A6E51A5F-FB29-4C2D-A709-FF416FAC7357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53</a:t>
            </a:fld>
            <a:endParaRPr lang="zh-TW" altLang="en-US" sz="1200" dirty="0">
              <a:solidFill>
                <a:srgbClr val="898989"/>
              </a:solidFill>
            </a:endParaRPr>
          </a:p>
        </p:txBody>
      </p:sp>
      <p:sp>
        <p:nvSpPr>
          <p:cNvPr id="9" name="矩形 8"/>
          <p:cNvSpPr/>
          <p:nvPr/>
        </p:nvSpPr>
        <p:spPr>
          <a:xfrm>
            <a:off x="861237" y="5897919"/>
            <a:ext cx="77457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TW" altLang="en-US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網址：</a:t>
            </a:r>
            <a:r>
              <a:rPr lang="en-US" altLang="zh-TW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https://www.naer.edu.tw/files/11-1000-1625.php?Lang=zh-tw</a:t>
            </a:r>
          </a:p>
        </p:txBody>
      </p:sp>
      <p:pic>
        <p:nvPicPr>
          <p:cNvPr id="10" name="圖片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23187">
            <a:off x="418416" y="5897641"/>
            <a:ext cx="369887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內容版面配置區 2"/>
          <p:cNvSpPr txBox="1">
            <a:spLocks/>
          </p:cNvSpPr>
          <p:nvPr/>
        </p:nvSpPr>
        <p:spPr>
          <a:xfrm>
            <a:off x="245096" y="1421244"/>
            <a:ext cx="8653807" cy="4403463"/>
          </a:xfrm>
          <a:prstGeom prst="rect">
            <a:avLst/>
          </a:prstGeom>
        </p:spPr>
        <p:txBody>
          <a:bodyPr rtlCol="0">
            <a:normAutofit fontScale="92500" lnSpcReduction="20000"/>
          </a:bodyPr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zh-TW" altLang="en-US" sz="2400" cap="all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國民小學教育階段</a:t>
            </a:r>
            <a:endParaRPr lang="zh-TW" altLang="zh-TW" sz="2400" cap="all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 eaLnBrk="1" fontAlgn="auto" hangingPunct="1">
              <a:spcAft>
                <a:spcPts val="0"/>
              </a:spcAft>
              <a:defRPr/>
            </a:pPr>
            <a:r>
              <a:rPr lang="zh-TW" altLang="en-US" sz="20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第二學習階段案例</a:t>
            </a:r>
            <a:r>
              <a:rPr lang="en-US" altLang="zh-TW" sz="20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1-</a:t>
            </a:r>
            <a:r>
              <a:rPr lang="zh-TW" altLang="en-US" sz="20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家庭生活</a:t>
            </a:r>
            <a:endParaRPr lang="en-US" altLang="zh-TW" sz="2000" cap="all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 eaLnBrk="1" fontAlgn="auto" hangingPunct="1">
              <a:spcAft>
                <a:spcPts val="0"/>
              </a:spcAft>
              <a:defRPr/>
            </a:pPr>
            <a:r>
              <a:rPr lang="zh-TW" altLang="en-US" sz="20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第二學習階段案例</a:t>
            </a:r>
            <a:r>
              <a:rPr lang="en-US" altLang="zh-TW" sz="20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2-</a:t>
            </a:r>
            <a:r>
              <a:rPr lang="zh-TW" altLang="en-US" sz="20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有愛咖啡真公義</a:t>
            </a:r>
            <a:endParaRPr lang="en-US" altLang="zh-TW" sz="2000" cap="all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 eaLnBrk="1" fontAlgn="auto" hangingPunct="1">
              <a:spcAft>
                <a:spcPts val="0"/>
              </a:spcAft>
              <a:defRPr/>
            </a:pPr>
            <a:r>
              <a:rPr lang="zh-TW" altLang="en-US" sz="20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第三學習階段案例</a:t>
            </a:r>
            <a:r>
              <a:rPr lang="en-US" altLang="zh-TW" sz="20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20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從老化到樂齡</a:t>
            </a:r>
            <a:endParaRPr lang="zh-TW" altLang="zh-TW" sz="2000" cap="all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zh-TW" altLang="en-US" sz="2400" cap="all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國民中學教育階段</a:t>
            </a:r>
            <a:endParaRPr lang="en-US" altLang="zh-TW" sz="2400" cap="all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 eaLnBrk="1" fontAlgn="auto" hangingPunct="1">
              <a:spcAft>
                <a:spcPts val="0"/>
              </a:spcAft>
              <a:defRPr/>
            </a:pP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歷史</a:t>
            </a:r>
            <a:r>
              <a:rPr lang="en-US" altLang="zh-TW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第一次世界大戰</a:t>
            </a:r>
            <a:endParaRPr lang="en-US" altLang="zh-TW" sz="2100" cap="all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 eaLnBrk="1" fontAlgn="auto" hangingPunct="1">
              <a:spcAft>
                <a:spcPts val="0"/>
              </a:spcAft>
              <a:defRPr/>
            </a:pP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地理</a:t>
            </a:r>
            <a:r>
              <a:rPr lang="en-US" altLang="zh-TW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西亞地區為何成為國際衝突的焦點？</a:t>
            </a:r>
            <a:endParaRPr lang="en-US" altLang="zh-TW" sz="2100" cap="all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 eaLnBrk="1" fontAlgn="auto" hangingPunct="1">
              <a:spcAft>
                <a:spcPts val="0"/>
              </a:spcAft>
              <a:defRPr/>
            </a:pP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公民與社會</a:t>
            </a:r>
            <a:r>
              <a:rPr lang="en-US" altLang="zh-TW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公共意見與媒體識讀</a:t>
            </a:r>
            <a:endParaRPr lang="en-US" altLang="zh-TW" sz="2100" cap="all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 eaLnBrk="1" fontAlgn="auto" hangingPunct="1">
              <a:spcAft>
                <a:spcPts val="0"/>
              </a:spcAft>
              <a:defRPr/>
            </a:pP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國中統整教學案例</a:t>
            </a:r>
            <a:r>
              <a:rPr lang="en-US" altLang="zh-TW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社會議題的理解與探究</a:t>
            </a:r>
            <a:r>
              <a:rPr lang="en-US" altLang="zh-TW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以亞泥案為例</a:t>
            </a:r>
            <a:endParaRPr lang="zh-TW" altLang="zh-TW" sz="2100" cap="all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fontAlgn="auto" hangingPunct="1">
              <a:spcAft>
                <a:spcPts val="0"/>
              </a:spcAft>
              <a:defRPr/>
            </a:pPr>
            <a:r>
              <a:rPr lang="zh-TW" altLang="en-US" sz="2400" cap="all" dirty="0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高級中等學校教育階段</a:t>
            </a:r>
            <a:endParaRPr lang="en-US" altLang="zh-TW" sz="2400" cap="all" dirty="0">
              <a:solidFill>
                <a:srgbClr val="FF000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 eaLnBrk="1" fontAlgn="auto" hangingPunct="1">
              <a:spcAft>
                <a:spcPts val="0"/>
              </a:spcAft>
              <a:defRPr/>
            </a:pP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歷史</a:t>
            </a:r>
            <a:r>
              <a:rPr lang="en-US" altLang="zh-TW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戰後來臺的各方移民</a:t>
            </a:r>
            <a:endParaRPr lang="en-US" altLang="zh-TW" sz="2100" cap="all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 eaLnBrk="1" fontAlgn="auto" hangingPunct="1">
              <a:spcAft>
                <a:spcPts val="0"/>
              </a:spcAft>
              <a:defRPr/>
            </a:pP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地理</a:t>
            </a:r>
            <a:r>
              <a:rPr lang="en-US" altLang="zh-TW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伊斯蘭世界的形成與發展</a:t>
            </a:r>
            <a:endParaRPr lang="en-US" altLang="zh-TW" sz="2100" cap="all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 eaLnBrk="1" fontAlgn="auto" hangingPunct="1">
              <a:spcAft>
                <a:spcPts val="0"/>
              </a:spcAft>
              <a:defRPr/>
            </a:pP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公民與社會</a:t>
            </a:r>
            <a:r>
              <a:rPr lang="en-US" altLang="zh-TW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全球化下的國際移工</a:t>
            </a:r>
            <a:endParaRPr lang="en-US" altLang="zh-TW" sz="2100" cap="all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 eaLnBrk="1" fontAlgn="auto" hangingPunct="1">
              <a:spcAft>
                <a:spcPts val="0"/>
              </a:spcAft>
              <a:defRPr/>
            </a:pP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地理科加深加廣選修課程之空間資訊科技</a:t>
            </a:r>
            <a:r>
              <a:rPr lang="en-US" altLang="zh-TW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從地名探究空間記憶的變遷</a:t>
            </a:r>
            <a:endParaRPr lang="en-US" altLang="zh-TW" sz="2100" cap="all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lvl="1" eaLnBrk="1" fontAlgn="auto" hangingPunct="1">
              <a:spcAft>
                <a:spcPts val="0"/>
              </a:spcAft>
              <a:defRPr/>
            </a:pP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地理科加深加廣選修課程之社會環境議題</a:t>
            </a:r>
            <a:r>
              <a:rPr lang="en-US" altLang="zh-TW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sz="2100" cap="all" dirty="0">
                <a:solidFill>
                  <a:srgbClr val="0070C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能源</a:t>
            </a:r>
            <a:endParaRPr lang="zh-TW" altLang="zh-TW" sz="2100" cap="all" dirty="0">
              <a:solidFill>
                <a:srgbClr val="0070C0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441803" y="108468"/>
            <a:ext cx="8239125" cy="1325563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100000"/>
              </a:lnSpc>
              <a:spcAft>
                <a:spcPts val="0"/>
              </a:spcAft>
              <a:defRPr/>
            </a:pPr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更多的十二年國教課綱</a:t>
            </a:r>
            <a:br>
              <a:rPr lang="en-US" altLang="zh-TW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</a:br>
            <a:r>
              <a:rPr lang="zh-TW" altLang="en-US" sz="3600" b="1" spc="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itchFamily="34" charset="-120"/>
                <a:ea typeface="微軟正黑體" pitchFamily="34" charset="-120"/>
                <a:cs typeface="+mn-cs"/>
              </a:rPr>
              <a:t>實施的參考資源</a:t>
            </a:r>
          </a:p>
        </p:txBody>
      </p:sp>
      <p:graphicFrame>
        <p:nvGraphicFramePr>
          <p:cNvPr id="7" name="資料庫圖表 6"/>
          <p:cNvGraphicFramePr/>
          <p:nvPr>
            <p:extLst>
              <p:ext uri="{D42A27DB-BD31-4B8C-83A1-F6EECF244321}">
                <p14:modId xmlns:p14="http://schemas.microsoft.com/office/powerpoint/2010/main" val="1001267865"/>
              </p:ext>
            </p:extLst>
          </p:nvPr>
        </p:nvGraphicFramePr>
        <p:xfrm>
          <a:off x="374295" y="2502572"/>
          <a:ext cx="3831020" cy="35582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76808" name="文字方塊 10"/>
          <p:cNvSpPr txBox="1">
            <a:spLocks noChangeArrowheads="1"/>
          </p:cNvSpPr>
          <p:nvPr/>
        </p:nvSpPr>
        <p:spPr bwMode="auto">
          <a:xfrm>
            <a:off x="2804002" y="1550824"/>
            <a:ext cx="3514725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zh-TW" altLang="en-US" sz="2000" b="1" dirty="0">
                <a:solidFill>
                  <a:schemeClr val="accent4">
                    <a:lumMod val="7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協力同行</a:t>
            </a:r>
            <a:r>
              <a:rPr lang="en-US" altLang="zh-TW" sz="2000" b="1" dirty="0">
                <a:solidFill>
                  <a:schemeClr val="accent4">
                    <a:lumMod val="7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</a:p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  <a:defRPr/>
            </a:pPr>
            <a:r>
              <a:rPr lang="zh-TW" altLang="en-US" sz="2000" b="1" dirty="0">
                <a:solidFill>
                  <a:schemeClr val="accent4">
                    <a:lumMod val="7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走進十二年國教課程綱要網站</a:t>
            </a:r>
            <a:endParaRPr lang="zh-TW" altLang="en-US" sz="2400" b="1" dirty="0">
              <a:solidFill>
                <a:schemeClr val="accent4">
                  <a:lumMod val="75000"/>
                </a:schemeClr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76810" name="投影片編號版面配置區 3"/>
          <p:cNvSpPr>
            <a:spLocks noGrp="1"/>
          </p:cNvSpPr>
          <p:nvPr>
            <p:ph type="sldNum" sz="quarter" idx="12"/>
          </p:nvPr>
        </p:nvSpPr>
        <p:spPr bwMode="auto">
          <a:xfrm>
            <a:off x="7050088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D3BC69FC-1A1C-407D-AAA1-A2DD7B8F5F2D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54</a:t>
            </a:fld>
            <a:endParaRPr lang="zh-TW" altLang="en-US" sz="1200" dirty="0">
              <a:solidFill>
                <a:srgbClr val="898989"/>
              </a:solidFill>
            </a:endParaRPr>
          </a:p>
        </p:txBody>
      </p:sp>
      <p:graphicFrame>
        <p:nvGraphicFramePr>
          <p:cNvPr id="8" name="資料庫圖表 7"/>
          <p:cNvGraphicFramePr/>
          <p:nvPr>
            <p:extLst>
              <p:ext uri="{D42A27DB-BD31-4B8C-83A1-F6EECF244321}">
                <p14:modId xmlns:p14="http://schemas.microsoft.com/office/powerpoint/2010/main" val="2308603145"/>
              </p:ext>
            </p:extLst>
          </p:nvPr>
        </p:nvGraphicFramePr>
        <p:xfrm>
          <a:off x="4705664" y="2502572"/>
          <a:ext cx="3831020" cy="35582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76806" name="圖片 7">
            <a:hlinkClick r:id="rId13"/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5736" y="2690916"/>
            <a:ext cx="1990876" cy="19908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圖片 2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7384" y="2690916"/>
            <a:ext cx="2113705" cy="2113705"/>
          </a:xfrm>
          <a:prstGeom prst="rect">
            <a:avLst/>
          </a:prstGeom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文本框 32"/>
          <p:cNvSpPr txBox="1">
            <a:spLocks noChangeArrowheads="1"/>
          </p:cNvSpPr>
          <p:nvPr/>
        </p:nvSpPr>
        <p:spPr bwMode="auto">
          <a:xfrm rot="180406">
            <a:off x="4578350" y="2432050"/>
            <a:ext cx="2152650" cy="11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CN" sz="6600" dirty="0">
                <a:solidFill>
                  <a:schemeClr val="bg1"/>
                </a:solidFill>
                <a:latin typeface="Eraser"/>
                <a:ea typeface="SimSun" panose="02010600030101010101" pitchFamily="2" charset="-122"/>
              </a:rPr>
              <a:t>Thanks</a:t>
            </a:r>
            <a:endParaRPr lang="zh-CN" altLang="en-US" sz="6600" b="1" dirty="0">
              <a:solidFill>
                <a:schemeClr val="bg1"/>
              </a:solidFill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0" name="矩形 9"/>
          <p:cNvSpPr/>
          <p:nvPr/>
        </p:nvSpPr>
        <p:spPr>
          <a:xfrm>
            <a:off x="2558255" y="3851825"/>
            <a:ext cx="3878263" cy="58578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4200"/>
              </a:spcBef>
              <a:spcAft>
                <a:spcPts val="0"/>
              </a:spcAft>
              <a:defRPr/>
            </a:pPr>
            <a:r>
              <a:rPr lang="zh-TW" altLang="en-US" sz="3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感謝聆聽    敬請指教</a:t>
            </a:r>
          </a:p>
        </p:txBody>
      </p:sp>
      <p:pic>
        <p:nvPicPr>
          <p:cNvPr id="77828" name="圖片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2650" y="5864225"/>
            <a:ext cx="2838450" cy="706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7829" name="圖片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78125" y="1276412"/>
            <a:ext cx="3438525" cy="2575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投影片編號版面配置區 3"/>
          <p:cNvSpPr txBox="1">
            <a:spLocks/>
          </p:cNvSpPr>
          <p:nvPr/>
        </p:nvSpPr>
        <p:spPr bwMode="auto">
          <a:xfrm>
            <a:off x="6911503" y="6527260"/>
            <a:ext cx="2154676" cy="330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zh-TW"/>
            </a:defPPr>
            <a:lvl1pPr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  <a:cs typeface="+mn-cs"/>
              </a:defRPr>
            </a:lvl1pPr>
            <a:lvl2pPr marL="742950" indent="-28575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  <a:cs typeface="+mn-cs"/>
              </a:defRPr>
            </a:lvl5pPr>
            <a:lvl6pPr marL="2514600" indent="-228600" algn="l" defTabSz="914400" rtl="0" eaLnBrk="0" fontAlgn="base" latinLnBrk="0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  <a:cs typeface="+mn-cs"/>
              </a:defRPr>
            </a:lvl6pPr>
            <a:lvl7pPr marL="2971800" indent="-228600" algn="l" defTabSz="914400" rtl="0" eaLnBrk="0" fontAlgn="base" latinLnBrk="0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  <a:cs typeface="+mn-cs"/>
              </a:defRPr>
            </a:lvl7pPr>
            <a:lvl8pPr marL="3429000" indent="-228600" algn="l" defTabSz="914400" rtl="0" eaLnBrk="0" fontAlgn="base" latinLnBrk="0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  <a:cs typeface="+mn-cs"/>
              </a:defRPr>
            </a:lvl8pPr>
            <a:lvl9pPr marL="3886200" indent="-228600" algn="l" defTabSz="914400" rtl="0" eaLnBrk="0" fontAlgn="base" latinLnBrk="0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zh-TW" sz="1200" dirty="0">
                <a:solidFill>
                  <a:srgbClr val="898989"/>
                </a:solidFill>
              </a:rPr>
              <a:t>55</a:t>
            </a:r>
            <a:endParaRPr lang="zh-TW" altLang="en-US" sz="1200" dirty="0">
              <a:solidFill>
                <a:srgbClr val="898989"/>
              </a:solidFill>
            </a:endParaRPr>
          </a:p>
        </p:txBody>
      </p:sp>
    </p:spTree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>
            <a:spLocks noGrp="1"/>
          </p:cNvSpPr>
          <p:nvPr>
            <p:ph type="title"/>
          </p:nvPr>
        </p:nvSpPr>
        <p:spPr>
          <a:xfrm>
            <a:off x="233363" y="534988"/>
            <a:ext cx="4757737" cy="995362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zh-TW" altLang="en-US" sz="4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核心素養界定</a:t>
            </a:r>
          </a:p>
        </p:txBody>
      </p:sp>
      <p:sp>
        <p:nvSpPr>
          <p:cNvPr id="23555" name="Shape 117"/>
          <p:cNvSpPr>
            <a:spLocks/>
          </p:cNvSpPr>
          <p:nvPr/>
        </p:nvSpPr>
        <p:spPr bwMode="auto">
          <a:xfrm>
            <a:off x="4527550" y="900113"/>
            <a:ext cx="379413" cy="377825"/>
          </a:xfrm>
          <a:custGeom>
            <a:avLst/>
            <a:gdLst>
              <a:gd name="T0" fmla="*/ 16945830 w 120000"/>
              <a:gd name="T1" fmla="*/ 0 h 120000"/>
              <a:gd name="T2" fmla="*/ 12850143 w 120000"/>
              <a:gd name="T3" fmla="*/ 874454 h 120000"/>
              <a:gd name="T4" fmla="*/ 8993280 w 120000"/>
              <a:gd name="T5" fmla="*/ 2643664 h 120000"/>
              <a:gd name="T6" fmla="*/ 5537760 w 120000"/>
              <a:gd name="T7" fmla="*/ 5308372 h 120000"/>
              <a:gd name="T8" fmla="*/ 2790013 w 120000"/>
              <a:gd name="T9" fmla="*/ 8669015 h 120000"/>
              <a:gd name="T10" fmla="*/ 950787 w 120000"/>
              <a:gd name="T11" fmla="*/ 12428780 h 120000"/>
              <a:gd name="T12" fmla="*/ 20194 w 120000"/>
              <a:gd name="T13" fmla="*/ 16430189 h 120000"/>
              <a:gd name="T14" fmla="*/ 0 w 120000"/>
              <a:gd name="T15" fmla="*/ 20515158 h 120000"/>
              <a:gd name="T16" fmla="*/ 890735 w 120000"/>
              <a:gd name="T17" fmla="*/ 24525521 h 120000"/>
              <a:gd name="T18" fmla="*/ 2693984 w 120000"/>
              <a:gd name="T19" fmla="*/ 28303822 h 120000"/>
              <a:gd name="T20" fmla="*/ 5410758 w 120000"/>
              <a:gd name="T21" fmla="*/ 31691627 h 120000"/>
              <a:gd name="T22" fmla="*/ 8847057 w 120000"/>
              <a:gd name="T23" fmla="*/ 34382081 h 120000"/>
              <a:gd name="T24" fmla="*/ 12689926 w 120000"/>
              <a:gd name="T25" fmla="*/ 36183132 h 120000"/>
              <a:gd name="T26" fmla="*/ 16778313 w 120000"/>
              <a:gd name="T27" fmla="*/ 37093442 h 120000"/>
              <a:gd name="T28" fmla="*/ 20951167 w 120000"/>
              <a:gd name="T29" fmla="*/ 37112327 h 120000"/>
              <a:gd name="T30" fmla="*/ 25047455 w 120000"/>
              <a:gd name="T31" fmla="*/ 36237567 h 120000"/>
              <a:gd name="T32" fmla="*/ 28905807 w 120000"/>
              <a:gd name="T33" fmla="*/ 34468348 h 120000"/>
              <a:gd name="T34" fmla="*/ 32365529 w 120000"/>
              <a:gd name="T35" fmla="*/ 31803649 h 120000"/>
              <a:gd name="T36" fmla="*/ 35112264 w 120000"/>
              <a:gd name="T37" fmla="*/ 28443094 h 120000"/>
              <a:gd name="T38" fmla="*/ 36950001 w 120000"/>
              <a:gd name="T39" fmla="*/ 24683329 h 120000"/>
              <a:gd name="T40" fmla="*/ 37878004 w 120000"/>
              <a:gd name="T41" fmla="*/ 20681920 h 120000"/>
              <a:gd name="T42" fmla="*/ 37895701 w 120000"/>
              <a:gd name="T43" fmla="*/ 16596961 h 120000"/>
              <a:gd name="T44" fmla="*/ 37002474 w 120000"/>
              <a:gd name="T45" fmla="*/ 12586213 h 120000"/>
              <a:gd name="T46" fmla="*/ 35197227 w 120000"/>
              <a:gd name="T47" fmla="*/ 8808288 h 120000"/>
              <a:gd name="T48" fmla="*/ 32479852 w 120000"/>
              <a:gd name="T49" fmla="*/ 5420391 h 120000"/>
              <a:gd name="T50" fmla="*/ 29047733 w 120000"/>
              <a:gd name="T51" fmla="*/ 2730028 h 120000"/>
              <a:gd name="T52" fmla="*/ 25206385 w 120000"/>
              <a:gd name="T53" fmla="*/ 928889 h 120000"/>
              <a:gd name="T54" fmla="*/ 21118554 w 120000"/>
              <a:gd name="T55" fmla="*/ 18290 h 120000"/>
              <a:gd name="T56" fmla="*/ 16945830 w 120000"/>
              <a:gd name="T57" fmla="*/ 0 h 120000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120000"/>
              <a:gd name="T88" fmla="*/ 0 h 120000"/>
              <a:gd name="T89" fmla="*/ 120000 w 120000"/>
              <a:gd name="T90" fmla="*/ 120000 h 120000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120000" h="120000" extrusionOk="0">
                <a:moveTo>
                  <a:pt x="53630" y="0"/>
                </a:moveTo>
                <a:lnTo>
                  <a:pt x="40668" y="2826"/>
                </a:lnTo>
                <a:lnTo>
                  <a:pt x="28462" y="8544"/>
                </a:lnTo>
                <a:lnTo>
                  <a:pt x="17526" y="17156"/>
                </a:lnTo>
                <a:lnTo>
                  <a:pt x="8830" y="28017"/>
                </a:lnTo>
                <a:lnTo>
                  <a:pt x="3009" y="40168"/>
                </a:lnTo>
                <a:lnTo>
                  <a:pt x="64" y="53100"/>
                </a:lnTo>
                <a:lnTo>
                  <a:pt x="0" y="66302"/>
                </a:lnTo>
                <a:lnTo>
                  <a:pt x="2819" y="79263"/>
                </a:lnTo>
                <a:lnTo>
                  <a:pt x="8526" y="91474"/>
                </a:lnTo>
                <a:lnTo>
                  <a:pt x="17124" y="102423"/>
                </a:lnTo>
                <a:lnTo>
                  <a:pt x="27999" y="111118"/>
                </a:lnTo>
                <a:lnTo>
                  <a:pt x="40161" y="116939"/>
                </a:lnTo>
                <a:lnTo>
                  <a:pt x="53100" y="119881"/>
                </a:lnTo>
                <a:lnTo>
                  <a:pt x="66306" y="119942"/>
                </a:lnTo>
                <a:lnTo>
                  <a:pt x="79270" y="117115"/>
                </a:lnTo>
                <a:lnTo>
                  <a:pt x="91481" y="111397"/>
                </a:lnTo>
                <a:lnTo>
                  <a:pt x="102430" y="102785"/>
                </a:lnTo>
                <a:lnTo>
                  <a:pt x="111123" y="91924"/>
                </a:lnTo>
                <a:lnTo>
                  <a:pt x="116939" y="79773"/>
                </a:lnTo>
                <a:lnTo>
                  <a:pt x="119876" y="66841"/>
                </a:lnTo>
                <a:lnTo>
                  <a:pt x="119932" y="53639"/>
                </a:lnTo>
                <a:lnTo>
                  <a:pt x="117105" y="40677"/>
                </a:lnTo>
                <a:lnTo>
                  <a:pt x="111392" y="28467"/>
                </a:lnTo>
                <a:lnTo>
                  <a:pt x="102792" y="17518"/>
                </a:lnTo>
                <a:lnTo>
                  <a:pt x="91930" y="8823"/>
                </a:lnTo>
                <a:lnTo>
                  <a:pt x="79773" y="3002"/>
                </a:lnTo>
                <a:lnTo>
                  <a:pt x="66836" y="59"/>
                </a:lnTo>
                <a:lnTo>
                  <a:pt x="5363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zh-TW" altLang="en-US"/>
          </a:p>
        </p:txBody>
      </p:sp>
      <p:sp>
        <p:nvSpPr>
          <p:cNvPr id="8" name="Shape 118"/>
          <p:cNvSpPr/>
          <p:nvPr/>
        </p:nvSpPr>
        <p:spPr>
          <a:xfrm>
            <a:off x="4268788" y="1228725"/>
            <a:ext cx="187325" cy="1873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60294" y="0"/>
                </a:moveTo>
                <a:lnTo>
                  <a:pt x="37700" y="4295"/>
                </a:lnTo>
                <a:lnTo>
                  <a:pt x="17806" y="17399"/>
                </a:lnTo>
                <a:lnTo>
                  <a:pt x="4505" y="37202"/>
                </a:lnTo>
                <a:lnTo>
                  <a:pt x="0" y="59765"/>
                </a:lnTo>
                <a:lnTo>
                  <a:pt x="4295" y="82359"/>
                </a:lnTo>
                <a:lnTo>
                  <a:pt x="17399" y="102254"/>
                </a:lnTo>
                <a:lnTo>
                  <a:pt x="37202" y="115508"/>
                </a:lnTo>
                <a:lnTo>
                  <a:pt x="59765" y="120000"/>
                </a:lnTo>
                <a:lnTo>
                  <a:pt x="82359" y="115719"/>
                </a:lnTo>
                <a:lnTo>
                  <a:pt x="102254" y="102660"/>
                </a:lnTo>
                <a:lnTo>
                  <a:pt x="115508" y="82858"/>
                </a:lnTo>
                <a:lnTo>
                  <a:pt x="120000" y="60294"/>
                </a:lnTo>
                <a:lnTo>
                  <a:pt x="115719" y="37700"/>
                </a:lnTo>
                <a:lnTo>
                  <a:pt x="102660" y="17806"/>
                </a:lnTo>
                <a:lnTo>
                  <a:pt x="82858" y="4505"/>
                </a:lnTo>
                <a:lnTo>
                  <a:pt x="60294" y="0"/>
                </a:lnTo>
                <a:close/>
              </a:path>
            </a:pathLst>
          </a:custGeom>
          <a:solidFill>
            <a:schemeClr val="accent1">
              <a:lumMod val="75000"/>
            </a:schemeClr>
          </a:solidFill>
          <a:ln>
            <a:noFill/>
          </a:ln>
        </p:spPr>
        <p:txBody>
          <a:bodyPr lIns="0" tIns="0" rIns="0" bIns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eaLnBrk="1" fontAlgn="auto" hangingPunct="1">
              <a:defRPr/>
            </a:pPr>
            <a:endParaRPr sz="18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3557" name="Shape 119"/>
          <p:cNvSpPr>
            <a:spLocks/>
          </p:cNvSpPr>
          <p:nvPr/>
        </p:nvSpPr>
        <p:spPr bwMode="auto">
          <a:xfrm>
            <a:off x="4532313" y="1358900"/>
            <a:ext cx="187325" cy="187325"/>
          </a:xfrm>
          <a:custGeom>
            <a:avLst/>
            <a:gdLst>
              <a:gd name="T0" fmla="*/ 558350 w 120000"/>
              <a:gd name="T1" fmla="*/ 0 h 120000"/>
              <a:gd name="T2" fmla="*/ 348908 w 120000"/>
              <a:gd name="T3" fmla="*/ 39816 h 120000"/>
              <a:gd name="T4" fmla="*/ 164495 w 120000"/>
              <a:gd name="T5" fmla="*/ 161288 h 120000"/>
              <a:gd name="T6" fmla="*/ 41619 w 120000"/>
              <a:gd name="T7" fmla="*/ 344858 h 120000"/>
              <a:gd name="T8" fmla="*/ 0 w 120000"/>
              <a:gd name="T9" fmla="*/ 554015 h 120000"/>
              <a:gd name="T10" fmla="*/ 39669 w 120000"/>
              <a:gd name="T11" fmla="*/ 763456 h 120000"/>
              <a:gd name="T12" fmla="*/ 160720 w 120000"/>
              <a:gd name="T13" fmla="*/ 947879 h 120000"/>
              <a:gd name="T14" fmla="*/ 344296 w 120000"/>
              <a:gd name="T15" fmla="*/ 1070742 h 120000"/>
              <a:gd name="T16" fmla="*/ 553455 w 120000"/>
              <a:gd name="T17" fmla="*/ 1112381 h 120000"/>
              <a:gd name="T18" fmla="*/ 762894 w 120000"/>
              <a:gd name="T19" fmla="*/ 1072696 h 120000"/>
              <a:gd name="T20" fmla="*/ 947306 w 120000"/>
              <a:gd name="T21" fmla="*/ 951647 h 120000"/>
              <a:gd name="T22" fmla="*/ 1070601 w 120000"/>
              <a:gd name="T23" fmla="*/ 768084 h 120000"/>
              <a:gd name="T24" fmla="*/ 1112381 w 120000"/>
              <a:gd name="T25" fmla="*/ 558914 h 120000"/>
              <a:gd name="T26" fmla="*/ 1072561 w 120000"/>
              <a:gd name="T27" fmla="*/ 349472 h 120000"/>
              <a:gd name="T28" fmla="*/ 951076 w 120000"/>
              <a:gd name="T29" fmla="*/ 165060 h 120000"/>
              <a:gd name="T30" fmla="*/ 767520 w 120000"/>
              <a:gd name="T31" fmla="*/ 41758 h 120000"/>
              <a:gd name="T32" fmla="*/ 558350 w 120000"/>
              <a:gd name="T33" fmla="*/ 0 h 12000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20000"/>
              <a:gd name="T52" fmla="*/ 0 h 120000"/>
              <a:gd name="T53" fmla="*/ 120000 w 120000"/>
              <a:gd name="T54" fmla="*/ 120000 h 120000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20000" h="120000" extrusionOk="0">
                <a:moveTo>
                  <a:pt x="60233" y="0"/>
                </a:moveTo>
                <a:lnTo>
                  <a:pt x="37639" y="4295"/>
                </a:lnTo>
                <a:lnTo>
                  <a:pt x="17745" y="17399"/>
                </a:lnTo>
                <a:lnTo>
                  <a:pt x="4490" y="37202"/>
                </a:lnTo>
                <a:lnTo>
                  <a:pt x="0" y="59765"/>
                </a:lnTo>
                <a:lnTo>
                  <a:pt x="4279" y="82359"/>
                </a:lnTo>
                <a:lnTo>
                  <a:pt x="17338" y="102254"/>
                </a:lnTo>
                <a:lnTo>
                  <a:pt x="37141" y="115508"/>
                </a:lnTo>
                <a:lnTo>
                  <a:pt x="59705" y="120000"/>
                </a:lnTo>
                <a:lnTo>
                  <a:pt x="82298" y="115719"/>
                </a:lnTo>
                <a:lnTo>
                  <a:pt x="102192" y="102660"/>
                </a:lnTo>
                <a:lnTo>
                  <a:pt x="115493" y="82858"/>
                </a:lnTo>
                <a:lnTo>
                  <a:pt x="120000" y="60294"/>
                </a:lnTo>
                <a:lnTo>
                  <a:pt x="115704" y="37700"/>
                </a:lnTo>
                <a:lnTo>
                  <a:pt x="102599" y="17806"/>
                </a:lnTo>
                <a:lnTo>
                  <a:pt x="82797" y="4505"/>
                </a:lnTo>
                <a:lnTo>
                  <a:pt x="60233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zh-TW" altLang="en-US"/>
          </a:p>
        </p:txBody>
      </p:sp>
      <p:sp>
        <p:nvSpPr>
          <p:cNvPr id="23558" name="Shape 121"/>
          <p:cNvSpPr>
            <a:spLocks/>
          </p:cNvSpPr>
          <p:nvPr/>
        </p:nvSpPr>
        <p:spPr bwMode="auto">
          <a:xfrm>
            <a:off x="6873875" y="4192588"/>
            <a:ext cx="317500" cy="315912"/>
          </a:xfrm>
          <a:custGeom>
            <a:avLst/>
            <a:gdLst>
              <a:gd name="T0" fmla="*/ 7767270 w 120000"/>
              <a:gd name="T1" fmla="*/ 0 h 120000"/>
              <a:gd name="T2" fmla="*/ 5312757 w 120000"/>
              <a:gd name="T3" fmla="*/ 386568 h 120000"/>
              <a:gd name="T4" fmla="*/ 3180599 w 120000"/>
              <a:gd name="T5" fmla="*/ 1463289 h 120000"/>
              <a:gd name="T6" fmla="*/ 1499002 w 120000"/>
              <a:gd name="T7" fmla="*/ 3104991 h 120000"/>
              <a:gd name="T8" fmla="*/ 395965 w 120000"/>
              <a:gd name="T9" fmla="*/ 5186946 h 120000"/>
              <a:gd name="T10" fmla="*/ 0 w 120000"/>
              <a:gd name="T11" fmla="*/ 7583923 h 120000"/>
              <a:gd name="T12" fmla="*/ 395965 w 120000"/>
              <a:gd name="T13" fmla="*/ 9981066 h 120000"/>
              <a:gd name="T14" fmla="*/ 1499002 w 120000"/>
              <a:gd name="T15" fmla="*/ 12062852 h 120000"/>
              <a:gd name="T16" fmla="*/ 3180599 w 120000"/>
              <a:gd name="T17" fmla="*/ 13704721 h 120000"/>
              <a:gd name="T18" fmla="*/ 5312757 w 120000"/>
              <a:gd name="T19" fmla="*/ 14781333 h 120000"/>
              <a:gd name="T20" fmla="*/ 7767270 w 120000"/>
              <a:gd name="T21" fmla="*/ 15167988 h 120000"/>
              <a:gd name="T22" fmla="*/ 10221635 w 120000"/>
              <a:gd name="T23" fmla="*/ 14781333 h 120000"/>
              <a:gd name="T24" fmla="*/ 12353645 w 120000"/>
              <a:gd name="T25" fmla="*/ 13704721 h 120000"/>
              <a:gd name="T26" fmla="*/ 14035381 w 120000"/>
              <a:gd name="T27" fmla="*/ 12062852 h 120000"/>
              <a:gd name="T28" fmla="*/ 15138278 w 120000"/>
              <a:gd name="T29" fmla="*/ 9981066 h 120000"/>
              <a:gd name="T30" fmla="*/ 15534537 w 120000"/>
              <a:gd name="T31" fmla="*/ 7583923 h 120000"/>
              <a:gd name="T32" fmla="*/ 15138278 w 120000"/>
              <a:gd name="T33" fmla="*/ 5186946 h 120000"/>
              <a:gd name="T34" fmla="*/ 14035381 w 120000"/>
              <a:gd name="T35" fmla="*/ 3104991 h 120000"/>
              <a:gd name="T36" fmla="*/ 12353645 w 120000"/>
              <a:gd name="T37" fmla="*/ 1463289 h 120000"/>
              <a:gd name="T38" fmla="*/ 10221635 w 120000"/>
              <a:gd name="T39" fmla="*/ 386568 h 120000"/>
              <a:gd name="T40" fmla="*/ 7767270 w 120000"/>
              <a:gd name="T41" fmla="*/ 0 h 120000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120000"/>
              <a:gd name="T64" fmla="*/ 0 h 120000"/>
              <a:gd name="T65" fmla="*/ 120000 w 120000"/>
              <a:gd name="T66" fmla="*/ 120000 h 120000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120000" h="120000" extrusionOk="0">
                <a:moveTo>
                  <a:pt x="59904" y="0"/>
                </a:moveTo>
                <a:lnTo>
                  <a:pt x="40974" y="3057"/>
                </a:lnTo>
                <a:lnTo>
                  <a:pt x="24530" y="11572"/>
                </a:lnTo>
                <a:lnTo>
                  <a:pt x="11561" y="24555"/>
                </a:lnTo>
                <a:lnTo>
                  <a:pt x="3054" y="41019"/>
                </a:lnTo>
                <a:lnTo>
                  <a:pt x="0" y="59975"/>
                </a:lnTo>
                <a:lnTo>
                  <a:pt x="3054" y="78932"/>
                </a:lnTo>
                <a:lnTo>
                  <a:pt x="11561" y="95395"/>
                </a:lnTo>
                <a:lnTo>
                  <a:pt x="24530" y="108379"/>
                </a:lnTo>
                <a:lnTo>
                  <a:pt x="40974" y="116893"/>
                </a:lnTo>
                <a:lnTo>
                  <a:pt x="59904" y="119951"/>
                </a:lnTo>
                <a:lnTo>
                  <a:pt x="78833" y="116893"/>
                </a:lnTo>
                <a:lnTo>
                  <a:pt x="95276" y="108379"/>
                </a:lnTo>
                <a:lnTo>
                  <a:pt x="108246" y="95395"/>
                </a:lnTo>
                <a:lnTo>
                  <a:pt x="116752" y="78932"/>
                </a:lnTo>
                <a:lnTo>
                  <a:pt x="119808" y="59975"/>
                </a:lnTo>
                <a:lnTo>
                  <a:pt x="116752" y="41019"/>
                </a:lnTo>
                <a:lnTo>
                  <a:pt x="108246" y="24555"/>
                </a:lnTo>
                <a:lnTo>
                  <a:pt x="95276" y="11572"/>
                </a:lnTo>
                <a:lnTo>
                  <a:pt x="78833" y="3057"/>
                </a:lnTo>
                <a:lnTo>
                  <a:pt x="59904" y="0"/>
                </a:lnTo>
                <a:close/>
              </a:path>
            </a:pathLst>
          </a:custGeom>
          <a:solidFill>
            <a:srgbClr val="76C2A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zh-TW" altLang="en-US"/>
          </a:p>
        </p:txBody>
      </p:sp>
      <p:sp>
        <p:nvSpPr>
          <p:cNvPr id="23559" name="Shape 122"/>
          <p:cNvSpPr>
            <a:spLocks/>
          </p:cNvSpPr>
          <p:nvPr/>
        </p:nvSpPr>
        <p:spPr bwMode="auto">
          <a:xfrm>
            <a:off x="7262813" y="4014788"/>
            <a:ext cx="177800" cy="177800"/>
          </a:xfrm>
          <a:custGeom>
            <a:avLst/>
            <a:gdLst>
              <a:gd name="T0" fmla="*/ 428144 w 120000"/>
              <a:gd name="T1" fmla="*/ 0 h 120000"/>
              <a:gd name="T2" fmla="*/ 261413 w 120000"/>
              <a:gd name="T3" fmla="*/ 33640 h 120000"/>
              <a:gd name="T4" fmla="*/ 125331 w 120000"/>
              <a:gd name="T5" fmla="*/ 125393 h 120000"/>
              <a:gd name="T6" fmla="*/ 33610 w 120000"/>
              <a:gd name="T7" fmla="*/ 261493 h 120000"/>
              <a:gd name="T8" fmla="*/ 0 w 120000"/>
              <a:gd name="T9" fmla="*/ 428144 h 120000"/>
              <a:gd name="T10" fmla="*/ 33610 w 120000"/>
              <a:gd name="T11" fmla="*/ 594793 h 120000"/>
              <a:gd name="T12" fmla="*/ 125331 w 120000"/>
              <a:gd name="T13" fmla="*/ 730891 h 120000"/>
              <a:gd name="T14" fmla="*/ 261413 w 120000"/>
              <a:gd name="T15" fmla="*/ 822645 h 120000"/>
              <a:gd name="T16" fmla="*/ 428144 w 120000"/>
              <a:gd name="T17" fmla="*/ 856295 h 120000"/>
              <a:gd name="T18" fmla="*/ 594870 w 120000"/>
              <a:gd name="T19" fmla="*/ 822645 h 120000"/>
              <a:gd name="T20" fmla="*/ 730952 w 120000"/>
              <a:gd name="T21" fmla="*/ 730891 h 120000"/>
              <a:gd name="T22" fmla="*/ 822673 w 120000"/>
              <a:gd name="T23" fmla="*/ 594793 h 120000"/>
              <a:gd name="T24" fmla="*/ 856295 w 120000"/>
              <a:gd name="T25" fmla="*/ 428144 h 120000"/>
              <a:gd name="T26" fmla="*/ 822673 w 120000"/>
              <a:gd name="T27" fmla="*/ 261493 h 120000"/>
              <a:gd name="T28" fmla="*/ 730952 w 120000"/>
              <a:gd name="T29" fmla="*/ 125393 h 120000"/>
              <a:gd name="T30" fmla="*/ 594870 w 120000"/>
              <a:gd name="T31" fmla="*/ 33640 h 120000"/>
              <a:gd name="T32" fmla="*/ 428144 w 120000"/>
              <a:gd name="T33" fmla="*/ 0 h 12000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20000"/>
              <a:gd name="T52" fmla="*/ 0 h 120000"/>
              <a:gd name="T53" fmla="*/ 120000 w 120000"/>
              <a:gd name="T54" fmla="*/ 120000 h 120000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20000" h="120000" extrusionOk="0">
                <a:moveTo>
                  <a:pt x="59957" y="0"/>
                </a:moveTo>
                <a:lnTo>
                  <a:pt x="36608" y="4711"/>
                </a:lnTo>
                <a:lnTo>
                  <a:pt x="17551" y="17560"/>
                </a:lnTo>
                <a:lnTo>
                  <a:pt x="4707" y="36619"/>
                </a:lnTo>
                <a:lnTo>
                  <a:pt x="0" y="59957"/>
                </a:lnTo>
                <a:lnTo>
                  <a:pt x="4707" y="83294"/>
                </a:lnTo>
                <a:lnTo>
                  <a:pt x="17551" y="102353"/>
                </a:lnTo>
                <a:lnTo>
                  <a:pt x="36608" y="115202"/>
                </a:lnTo>
                <a:lnTo>
                  <a:pt x="59957" y="119914"/>
                </a:lnTo>
                <a:lnTo>
                  <a:pt x="83305" y="115202"/>
                </a:lnTo>
                <a:lnTo>
                  <a:pt x="102362" y="102353"/>
                </a:lnTo>
                <a:lnTo>
                  <a:pt x="115206" y="83294"/>
                </a:lnTo>
                <a:lnTo>
                  <a:pt x="119914" y="59957"/>
                </a:lnTo>
                <a:lnTo>
                  <a:pt x="115206" y="36619"/>
                </a:lnTo>
                <a:lnTo>
                  <a:pt x="102362" y="17560"/>
                </a:lnTo>
                <a:lnTo>
                  <a:pt x="83305" y="4711"/>
                </a:lnTo>
                <a:lnTo>
                  <a:pt x="59957" y="0"/>
                </a:lnTo>
                <a:close/>
              </a:path>
            </a:pathLst>
          </a:custGeom>
          <a:solidFill>
            <a:srgbClr val="76C2A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zh-TW" altLang="en-US"/>
          </a:p>
        </p:txBody>
      </p:sp>
      <p:sp>
        <p:nvSpPr>
          <p:cNvPr id="23560" name="Shape 123"/>
          <p:cNvSpPr>
            <a:spLocks/>
          </p:cNvSpPr>
          <p:nvPr/>
        </p:nvSpPr>
        <p:spPr bwMode="auto">
          <a:xfrm>
            <a:off x="8413750" y="1360488"/>
            <a:ext cx="203200" cy="204787"/>
          </a:xfrm>
          <a:custGeom>
            <a:avLst/>
            <a:gdLst>
              <a:gd name="T0" fmla="*/ 963874 w 120000"/>
              <a:gd name="T1" fmla="*/ 0 h 120000"/>
              <a:gd name="T2" fmla="*/ 628796 w 120000"/>
              <a:gd name="T3" fmla="*/ 15164 h 120000"/>
              <a:gd name="T4" fmla="*/ 326104 w 120000"/>
              <a:gd name="T5" fmla="*/ 164215 h 120000"/>
              <a:gd name="T6" fmla="*/ 109935 w 120000"/>
              <a:gd name="T7" fmla="*/ 413680 h 120000"/>
              <a:gd name="T8" fmla="*/ 0 w 120000"/>
              <a:gd name="T9" fmla="*/ 729286 h 120000"/>
              <a:gd name="T10" fmla="*/ 16043 w 120000"/>
              <a:gd name="T11" fmla="*/ 1076763 h 120000"/>
              <a:gd name="T12" fmla="*/ 160360 w 120000"/>
              <a:gd name="T13" fmla="*/ 1391091 h 120000"/>
              <a:gd name="T14" fmla="*/ 401505 w 120000"/>
              <a:gd name="T15" fmla="*/ 1616321 h 120000"/>
              <a:gd name="T16" fmla="*/ 706281 w 120000"/>
              <a:gd name="T17" fmla="*/ 1731704 h 120000"/>
              <a:gd name="T18" fmla="*/ 1041503 w 120000"/>
              <a:gd name="T19" fmla="*/ 1716525 h 120000"/>
              <a:gd name="T20" fmla="*/ 1344200 w 120000"/>
              <a:gd name="T21" fmla="*/ 1567494 h 120000"/>
              <a:gd name="T22" fmla="*/ 1560385 w 120000"/>
              <a:gd name="T23" fmla="*/ 1318026 h 120000"/>
              <a:gd name="T24" fmla="*/ 1670319 w 120000"/>
              <a:gd name="T25" fmla="*/ 1002405 h 120000"/>
              <a:gd name="T26" fmla="*/ 1654268 w 120000"/>
              <a:gd name="T27" fmla="*/ 654933 h 120000"/>
              <a:gd name="T28" fmla="*/ 1509500 w 120000"/>
              <a:gd name="T29" fmla="*/ 340598 h 120000"/>
              <a:gd name="T30" fmla="*/ 1268413 w 120000"/>
              <a:gd name="T31" fmla="*/ 115375 h 120000"/>
              <a:gd name="T32" fmla="*/ 963874 w 120000"/>
              <a:gd name="T33" fmla="*/ 0 h 12000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20000"/>
              <a:gd name="T52" fmla="*/ 0 h 120000"/>
              <a:gd name="T53" fmla="*/ 120000 w 120000"/>
              <a:gd name="T54" fmla="*/ 120000 h 120000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20000" h="120000" extrusionOk="0">
                <a:moveTo>
                  <a:pt x="69232" y="0"/>
                </a:moveTo>
                <a:lnTo>
                  <a:pt x="45165" y="1048"/>
                </a:lnTo>
                <a:lnTo>
                  <a:pt x="23423" y="11345"/>
                </a:lnTo>
                <a:lnTo>
                  <a:pt x="7896" y="28580"/>
                </a:lnTo>
                <a:lnTo>
                  <a:pt x="0" y="50384"/>
                </a:lnTo>
                <a:lnTo>
                  <a:pt x="1152" y="74390"/>
                </a:lnTo>
                <a:lnTo>
                  <a:pt x="11518" y="96106"/>
                </a:lnTo>
                <a:lnTo>
                  <a:pt x="28839" y="111666"/>
                </a:lnTo>
                <a:lnTo>
                  <a:pt x="50730" y="119638"/>
                </a:lnTo>
                <a:lnTo>
                  <a:pt x="74808" y="118589"/>
                </a:lnTo>
                <a:lnTo>
                  <a:pt x="96550" y="108293"/>
                </a:lnTo>
                <a:lnTo>
                  <a:pt x="112078" y="91058"/>
                </a:lnTo>
                <a:lnTo>
                  <a:pt x="119974" y="69253"/>
                </a:lnTo>
                <a:lnTo>
                  <a:pt x="118821" y="45247"/>
                </a:lnTo>
                <a:lnTo>
                  <a:pt x="108423" y="23531"/>
                </a:lnTo>
                <a:lnTo>
                  <a:pt x="91106" y="7971"/>
                </a:lnTo>
                <a:lnTo>
                  <a:pt x="69232" y="0"/>
                </a:lnTo>
                <a:close/>
              </a:path>
            </a:pathLst>
          </a:custGeom>
          <a:solidFill>
            <a:srgbClr val="FC60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zh-TW" altLang="en-US"/>
          </a:p>
        </p:txBody>
      </p:sp>
      <p:sp>
        <p:nvSpPr>
          <p:cNvPr id="23561" name="Shape 124"/>
          <p:cNvSpPr>
            <a:spLocks/>
          </p:cNvSpPr>
          <p:nvPr/>
        </p:nvSpPr>
        <p:spPr bwMode="auto">
          <a:xfrm>
            <a:off x="8175625" y="1354138"/>
            <a:ext cx="100013" cy="98425"/>
          </a:xfrm>
          <a:custGeom>
            <a:avLst/>
            <a:gdLst>
              <a:gd name="T0" fmla="*/ 27982 w 120000"/>
              <a:gd name="T1" fmla="*/ 0 h 120000"/>
              <a:gd name="T2" fmla="*/ 18314 w 120000"/>
              <a:gd name="T3" fmla="*/ 452 h 120000"/>
              <a:gd name="T4" fmla="*/ 9521 w 120000"/>
              <a:gd name="T5" fmla="*/ 4309 h 120000"/>
              <a:gd name="T6" fmla="*/ 3226 w 120000"/>
              <a:gd name="T7" fmla="*/ 10746 h 120000"/>
              <a:gd name="T8" fmla="*/ 0 w 120000"/>
              <a:gd name="T9" fmla="*/ 18875 h 120000"/>
              <a:gd name="T10" fmla="*/ 415 w 120000"/>
              <a:gd name="T11" fmla="*/ 27807 h 120000"/>
              <a:gd name="T12" fmla="*/ 4555 w 120000"/>
              <a:gd name="T13" fmla="*/ 35860 h 120000"/>
              <a:gd name="T14" fmla="*/ 11487 w 120000"/>
              <a:gd name="T15" fmla="*/ 41599 h 120000"/>
              <a:gd name="T16" fmla="*/ 20276 w 120000"/>
              <a:gd name="T17" fmla="*/ 44512 h 120000"/>
              <a:gd name="T18" fmla="*/ 29981 w 120000"/>
              <a:gd name="T19" fmla="*/ 44084 h 120000"/>
              <a:gd name="T20" fmla="*/ 38738 w 120000"/>
              <a:gd name="T21" fmla="*/ 40203 h 120000"/>
              <a:gd name="T22" fmla="*/ 45015 w 120000"/>
              <a:gd name="T23" fmla="*/ 33768 h 120000"/>
              <a:gd name="T24" fmla="*/ 48235 w 120000"/>
              <a:gd name="T25" fmla="*/ 25652 h 120000"/>
              <a:gd name="T26" fmla="*/ 47818 w 120000"/>
              <a:gd name="T27" fmla="*/ 16728 h 120000"/>
              <a:gd name="T28" fmla="*/ 43680 w 120000"/>
              <a:gd name="T29" fmla="*/ 8668 h 120000"/>
              <a:gd name="T30" fmla="*/ 36754 w 120000"/>
              <a:gd name="T31" fmla="*/ 2914 h 120000"/>
              <a:gd name="T32" fmla="*/ 27982 w 120000"/>
              <a:gd name="T33" fmla="*/ 0 h 120000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20000"/>
              <a:gd name="T52" fmla="*/ 0 h 120000"/>
              <a:gd name="T53" fmla="*/ 120000 w 120000"/>
              <a:gd name="T54" fmla="*/ 120000 h 120000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20000" h="120000" extrusionOk="0">
                <a:moveTo>
                  <a:pt x="69585" y="0"/>
                </a:moveTo>
                <a:lnTo>
                  <a:pt x="45541" y="1218"/>
                </a:lnTo>
                <a:lnTo>
                  <a:pt x="23677" y="11607"/>
                </a:lnTo>
                <a:lnTo>
                  <a:pt x="8022" y="28948"/>
                </a:lnTo>
                <a:lnTo>
                  <a:pt x="0" y="50847"/>
                </a:lnTo>
                <a:lnTo>
                  <a:pt x="1034" y="74910"/>
                </a:lnTo>
                <a:lnTo>
                  <a:pt x="11325" y="96603"/>
                </a:lnTo>
                <a:lnTo>
                  <a:pt x="28565" y="112064"/>
                </a:lnTo>
                <a:lnTo>
                  <a:pt x="50421" y="119910"/>
                </a:lnTo>
                <a:lnTo>
                  <a:pt x="74554" y="118757"/>
                </a:lnTo>
                <a:lnTo>
                  <a:pt x="96329" y="108302"/>
                </a:lnTo>
                <a:lnTo>
                  <a:pt x="111940" y="90967"/>
                </a:lnTo>
                <a:lnTo>
                  <a:pt x="119946" y="69104"/>
                </a:lnTo>
                <a:lnTo>
                  <a:pt x="118909" y="45064"/>
                </a:lnTo>
                <a:lnTo>
                  <a:pt x="108619" y="23350"/>
                </a:lnTo>
                <a:lnTo>
                  <a:pt x="91396" y="7852"/>
                </a:lnTo>
                <a:lnTo>
                  <a:pt x="69585" y="0"/>
                </a:lnTo>
                <a:close/>
              </a:path>
            </a:pathLst>
          </a:custGeom>
          <a:solidFill>
            <a:srgbClr val="FC606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zh-TW" altLang="en-US"/>
          </a:p>
        </p:txBody>
      </p:sp>
      <p:grpSp>
        <p:nvGrpSpPr>
          <p:cNvPr id="23562" name="群組 32"/>
          <p:cNvGrpSpPr>
            <a:grpSpLocks/>
          </p:cNvGrpSpPr>
          <p:nvPr/>
        </p:nvGrpSpPr>
        <p:grpSpPr bwMode="auto">
          <a:xfrm>
            <a:off x="4749800" y="1009650"/>
            <a:ext cx="1836738" cy="1836738"/>
            <a:chOff x="661423" y="2239808"/>
            <a:chExt cx="1837470" cy="1837470"/>
          </a:xfrm>
        </p:grpSpPr>
        <p:pic>
          <p:nvPicPr>
            <p:cNvPr id="23574" name="圖片 1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1423" y="2239808"/>
              <a:ext cx="1837470" cy="18374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575" name="文字方塊 21"/>
            <p:cNvSpPr txBox="1">
              <a:spLocks noChangeArrowheads="1"/>
            </p:cNvSpPr>
            <p:nvPr/>
          </p:nvSpPr>
          <p:spPr bwMode="auto">
            <a:xfrm>
              <a:off x="921026" y="3504999"/>
              <a:ext cx="75562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TW" altLang="en-US" sz="1800" b="1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知識</a:t>
              </a:r>
            </a:p>
          </p:txBody>
        </p:sp>
      </p:grpSp>
      <p:grpSp>
        <p:nvGrpSpPr>
          <p:cNvPr id="23563" name="群組 34"/>
          <p:cNvGrpSpPr>
            <a:grpSpLocks/>
          </p:cNvGrpSpPr>
          <p:nvPr/>
        </p:nvGrpSpPr>
        <p:grpSpPr bwMode="auto">
          <a:xfrm>
            <a:off x="4991100" y="2479675"/>
            <a:ext cx="2030413" cy="2030413"/>
            <a:chOff x="1049801" y="3874331"/>
            <a:chExt cx="2030510" cy="2030510"/>
          </a:xfrm>
        </p:grpSpPr>
        <p:pic>
          <p:nvPicPr>
            <p:cNvPr id="23572" name="圖片 19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9801" y="3874331"/>
              <a:ext cx="2030510" cy="20305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573" name="文字方塊 23"/>
            <p:cNvSpPr txBox="1">
              <a:spLocks noChangeArrowheads="1"/>
            </p:cNvSpPr>
            <p:nvPr/>
          </p:nvSpPr>
          <p:spPr bwMode="auto">
            <a:xfrm>
              <a:off x="1908810" y="5482891"/>
              <a:ext cx="75562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TW" altLang="en-US" sz="1800" b="1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能力</a:t>
              </a:r>
            </a:p>
          </p:txBody>
        </p:sp>
      </p:grpSp>
      <p:grpSp>
        <p:nvGrpSpPr>
          <p:cNvPr id="23564" name="群組 33"/>
          <p:cNvGrpSpPr>
            <a:grpSpLocks/>
          </p:cNvGrpSpPr>
          <p:nvPr/>
        </p:nvGrpSpPr>
        <p:grpSpPr bwMode="auto">
          <a:xfrm>
            <a:off x="6172200" y="1201738"/>
            <a:ext cx="2117725" cy="2117725"/>
            <a:chOff x="2347501" y="2292275"/>
            <a:chExt cx="2117428" cy="2117428"/>
          </a:xfrm>
        </p:grpSpPr>
        <p:pic>
          <p:nvPicPr>
            <p:cNvPr id="23570" name="圖片 2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7501" y="2292275"/>
              <a:ext cx="2117428" cy="2117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571" name="文字方塊 22"/>
            <p:cNvSpPr txBox="1">
              <a:spLocks noChangeArrowheads="1"/>
            </p:cNvSpPr>
            <p:nvPr/>
          </p:nvSpPr>
          <p:spPr bwMode="auto">
            <a:xfrm>
              <a:off x="3468689" y="3798830"/>
              <a:ext cx="755623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  <a:ea typeface="新細明體" panose="02020500000000000000" pitchFamily="18" charset="-12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zh-TW" altLang="en-US" sz="1800" b="1">
                  <a:solidFill>
                    <a:schemeClr val="bg1"/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rPr>
                <a:t>態度</a:t>
              </a:r>
            </a:p>
          </p:txBody>
        </p:sp>
      </p:grpSp>
      <p:cxnSp>
        <p:nvCxnSpPr>
          <p:cNvPr id="37" name="直線接點 36"/>
          <p:cNvCxnSpPr/>
          <p:nvPr/>
        </p:nvCxnSpPr>
        <p:spPr>
          <a:xfrm>
            <a:off x="166688" y="1458913"/>
            <a:ext cx="3162300" cy="0"/>
          </a:xfrm>
          <a:prstGeom prst="line">
            <a:avLst/>
          </a:prstGeom>
          <a:ln w="57150">
            <a:solidFill>
              <a:srgbClr val="76C2A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直線接點 37"/>
          <p:cNvCxnSpPr/>
          <p:nvPr/>
        </p:nvCxnSpPr>
        <p:spPr>
          <a:xfrm>
            <a:off x="325438" y="1570038"/>
            <a:ext cx="3162300" cy="0"/>
          </a:xfrm>
          <a:prstGeom prst="line">
            <a:avLst/>
          </a:prstGeom>
          <a:ln w="57150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567" name="矩形 26"/>
          <p:cNvSpPr>
            <a:spLocks noChangeArrowheads="1"/>
          </p:cNvSpPr>
          <p:nvPr/>
        </p:nvSpPr>
        <p:spPr bwMode="auto">
          <a:xfrm>
            <a:off x="160338" y="1782763"/>
            <a:ext cx="4572000" cy="2144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ts val="4000"/>
              </a:lnSpc>
              <a:spcBef>
                <a:spcPct val="0"/>
              </a:spcBef>
              <a:buFontTx/>
              <a:buNone/>
            </a:pPr>
            <a:r>
              <a:rPr lang="zh-TW" altLang="zh-TW">
                <a:latin typeface="微軟正黑體" panose="020B0604030504040204" pitchFamily="34" charset="-120"/>
                <a:ea typeface="微軟正黑體" panose="020B0604030504040204" pitchFamily="34" charset="-120"/>
              </a:rPr>
              <a:t>「核心素養」的涵義是指一個人為</a:t>
            </a:r>
            <a:r>
              <a:rPr lang="zh-TW" altLang="zh-TW" b="1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適應現在生活及面對未來挑戰</a:t>
            </a:r>
            <a:r>
              <a:rPr lang="zh-TW" altLang="zh-TW">
                <a:latin typeface="微軟正黑體" panose="020B0604030504040204" pitchFamily="34" charset="-120"/>
                <a:ea typeface="微軟正黑體" panose="020B0604030504040204" pitchFamily="34" charset="-120"/>
              </a:rPr>
              <a:t>，所應具備的</a:t>
            </a:r>
            <a:r>
              <a:rPr lang="zh-TW" altLang="zh-TW" b="1">
                <a:latin typeface="微軟正黑體" panose="020B0604030504040204" pitchFamily="34" charset="-120"/>
                <a:ea typeface="微軟正黑體" panose="020B0604030504040204" pitchFamily="34" charset="-120"/>
              </a:rPr>
              <a:t>知識</a:t>
            </a:r>
            <a:r>
              <a:rPr lang="zh-TW" altLang="zh-TW">
                <a:latin typeface="微軟正黑體" panose="020B0604030504040204" pitchFamily="34" charset="-120"/>
                <a:ea typeface="微軟正黑體" panose="020B0604030504040204" pitchFamily="34" charset="-120"/>
              </a:rPr>
              <a:t>、</a:t>
            </a:r>
            <a:r>
              <a:rPr lang="zh-TW" altLang="zh-TW" b="1">
                <a:latin typeface="微軟正黑體" panose="020B0604030504040204" pitchFamily="34" charset="-120"/>
                <a:ea typeface="微軟正黑體" panose="020B0604030504040204" pitchFamily="34" charset="-120"/>
              </a:rPr>
              <a:t>能力</a:t>
            </a:r>
            <a:r>
              <a:rPr lang="en-US" altLang="zh-TW" b="1">
                <a:latin typeface="微軟正黑體" panose="020B0604030504040204" pitchFamily="34" charset="-120"/>
                <a:ea typeface="微軟正黑體" panose="020B0604030504040204" pitchFamily="34" charset="-120"/>
              </a:rPr>
              <a:t>(</a:t>
            </a:r>
            <a:r>
              <a:rPr lang="zh-TW" altLang="zh-TW" b="1">
                <a:latin typeface="微軟正黑體" panose="020B0604030504040204" pitchFamily="34" charset="-120"/>
                <a:ea typeface="微軟正黑體" panose="020B0604030504040204" pitchFamily="34" charset="-120"/>
              </a:rPr>
              <a:t>包含技能</a:t>
            </a:r>
            <a:r>
              <a:rPr lang="en-US" altLang="zh-TW" b="1">
                <a:latin typeface="微軟正黑體" panose="020B0604030504040204" pitchFamily="34" charset="-120"/>
                <a:ea typeface="微軟正黑體" panose="020B0604030504040204" pitchFamily="34" charset="-120"/>
              </a:rPr>
              <a:t>)</a:t>
            </a:r>
            <a:r>
              <a:rPr lang="zh-TW" altLang="zh-TW">
                <a:latin typeface="微軟正黑體" panose="020B0604030504040204" pitchFamily="34" charset="-120"/>
                <a:ea typeface="微軟正黑體" panose="020B0604030504040204" pitchFamily="34" charset="-120"/>
              </a:rPr>
              <a:t>與</a:t>
            </a:r>
            <a:r>
              <a:rPr lang="zh-TW" altLang="zh-TW" b="1">
                <a:latin typeface="微軟正黑體" panose="020B0604030504040204" pitchFamily="34" charset="-120"/>
                <a:ea typeface="微軟正黑體" panose="020B0604030504040204" pitchFamily="34" charset="-120"/>
              </a:rPr>
              <a:t>態度</a:t>
            </a:r>
            <a:r>
              <a:rPr lang="zh-TW" altLang="zh-TW">
                <a:latin typeface="微軟正黑體" panose="020B0604030504040204" pitchFamily="34" charset="-120"/>
                <a:ea typeface="微軟正黑體" panose="020B0604030504040204" pitchFamily="34" charset="-120"/>
              </a:rPr>
              <a:t>。</a:t>
            </a:r>
            <a:endParaRPr lang="zh-TW" altLang="en-US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3568" name="矩形 2"/>
          <p:cNvSpPr>
            <a:spLocks noChangeArrowheads="1"/>
          </p:cNvSpPr>
          <p:nvPr/>
        </p:nvSpPr>
        <p:spPr bwMode="auto">
          <a:xfrm>
            <a:off x="249238" y="4103688"/>
            <a:ext cx="4572000" cy="2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80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與十二年國教的關係：</a:t>
            </a:r>
            <a:r>
              <a:rPr lang="zh-TW" altLang="en-US" sz="1800">
                <a:latin typeface="微軟正黑體" panose="020B0604030504040204" pitchFamily="34" charset="-120"/>
                <a:ea typeface="微軟正黑體" panose="020B0604030504040204" pitchFamily="34" charset="-120"/>
              </a:rPr>
              <a:t>每一位接受十二年國民基本教育的學生，所應具備的基本且共同的素養。</a:t>
            </a:r>
            <a:endParaRPr lang="en-US" altLang="zh-TW" sz="180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en-US" altLang="zh-TW" sz="1800">
              <a:solidFill>
                <a:srgbClr val="0000CC"/>
              </a:solidFill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en-US" sz="1800">
                <a:solidFill>
                  <a:srgbClr val="C0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在總綱與領綱中的功能：</a:t>
            </a:r>
            <a:r>
              <a:rPr lang="zh-TW" altLang="en-US" sz="1800">
                <a:latin typeface="微軟正黑體" panose="020B0604030504040204" pitchFamily="34" charset="-120"/>
                <a:ea typeface="微軟正黑體" panose="020B0604030504040204" pitchFamily="34" charset="-120"/>
              </a:rPr>
              <a:t>強化各教育階段、課程總綱與領域</a:t>
            </a:r>
            <a:r>
              <a:rPr lang="en-US" altLang="zh-TW" sz="1800"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sz="1800">
                <a:latin typeface="微軟正黑體" panose="020B0604030504040204" pitchFamily="34" charset="-120"/>
                <a:ea typeface="微軟正黑體" panose="020B0604030504040204" pitchFamily="34" charset="-120"/>
              </a:rPr>
              <a:t>科目之間的</a:t>
            </a:r>
            <a:r>
              <a:rPr lang="zh-TW" altLang="en-US" sz="1800" b="1">
                <a:latin typeface="微軟正黑體" panose="020B0604030504040204" pitchFamily="34" charset="-120"/>
                <a:ea typeface="微軟正黑體" panose="020B0604030504040204" pitchFamily="34" charset="-120"/>
              </a:rPr>
              <a:t>連貫</a:t>
            </a:r>
            <a:r>
              <a:rPr lang="zh-TW" altLang="en-US" sz="1800">
                <a:latin typeface="微軟正黑體" panose="020B0604030504040204" pitchFamily="34" charset="-120"/>
                <a:ea typeface="微軟正黑體" panose="020B0604030504040204" pitchFamily="34" charset="-120"/>
              </a:rPr>
              <a:t>，以及各領域</a:t>
            </a:r>
            <a:r>
              <a:rPr lang="en-US" altLang="zh-TW" sz="1800">
                <a:latin typeface="微軟正黑體" panose="020B0604030504040204" pitchFamily="34" charset="-120"/>
                <a:ea typeface="微軟正黑體" panose="020B0604030504040204" pitchFamily="34" charset="-120"/>
              </a:rPr>
              <a:t>/</a:t>
            </a:r>
            <a:r>
              <a:rPr lang="zh-TW" altLang="en-US" sz="1800">
                <a:latin typeface="微軟正黑體" panose="020B0604030504040204" pitchFamily="34" charset="-120"/>
                <a:ea typeface="微軟正黑體" panose="020B0604030504040204" pitchFamily="34" charset="-120"/>
              </a:rPr>
              <a:t>科目彼此之間的</a:t>
            </a:r>
            <a:r>
              <a:rPr lang="zh-TW" altLang="en-US" sz="1800" b="1">
                <a:latin typeface="微軟正黑體" panose="020B0604030504040204" pitchFamily="34" charset="-120"/>
                <a:ea typeface="微軟正黑體" panose="020B0604030504040204" pitchFamily="34" charset="-120"/>
              </a:rPr>
              <a:t>統整</a:t>
            </a:r>
            <a:r>
              <a:rPr lang="zh-TW" altLang="en-US" sz="1800">
                <a:latin typeface="微軟正黑體" panose="020B0604030504040204" pitchFamily="34" charset="-120"/>
                <a:ea typeface="微軟正黑體" panose="020B0604030504040204" pitchFamily="34" charset="-120"/>
              </a:rPr>
              <a:t>。</a:t>
            </a:r>
            <a:endParaRPr lang="en-US" altLang="zh-TW" sz="180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3569" name="投影片編號版面配置區 3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34FE3B84-F0E0-4330-AFC1-3D682B3F88B3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6</a:t>
            </a:fld>
            <a:endParaRPr lang="zh-TW" altLang="en-US" sz="1200">
              <a:solidFill>
                <a:srgbClr val="898989"/>
              </a:solidFill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矩形 7"/>
          <p:cNvSpPr>
            <a:spLocks noChangeArrowheads="1"/>
          </p:cNvSpPr>
          <p:nvPr/>
        </p:nvSpPr>
        <p:spPr bwMode="auto">
          <a:xfrm>
            <a:off x="179388" y="1343025"/>
            <a:ext cx="8866187" cy="660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zh-TW" altLang="en-US">
                <a:latin typeface="微軟正黑體" panose="020B0604030504040204" pitchFamily="34" charset="-120"/>
                <a:ea typeface="微軟正黑體" panose="020B0604030504040204" pitchFamily="34" charset="-120"/>
              </a:rPr>
              <a:t>核心素養強調培養以人為本的「終身學習者」，包括：</a:t>
            </a:r>
            <a:endParaRPr lang="zh-TW" altLang="en-US" sz="180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25603" name="圖片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0738" y="2406650"/>
            <a:ext cx="1912937" cy="1912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04" name="圖片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9025" y="2406650"/>
            <a:ext cx="1912938" cy="1912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5605" name="群組 10"/>
          <p:cNvGrpSpPr>
            <a:grpSpLocks/>
          </p:cNvGrpSpPr>
          <p:nvPr/>
        </p:nvGrpSpPr>
        <p:grpSpPr bwMode="auto">
          <a:xfrm>
            <a:off x="6442075" y="2406650"/>
            <a:ext cx="1911350" cy="1912938"/>
            <a:chOff x="6185509" y="1914145"/>
            <a:chExt cx="1912212" cy="1912212"/>
          </a:xfrm>
        </p:grpSpPr>
        <p:grpSp>
          <p:nvGrpSpPr>
            <p:cNvPr id="25616" name="群組 6"/>
            <p:cNvGrpSpPr>
              <a:grpSpLocks/>
            </p:cNvGrpSpPr>
            <p:nvPr/>
          </p:nvGrpSpPr>
          <p:grpSpPr bwMode="auto">
            <a:xfrm>
              <a:off x="6185509" y="1914145"/>
              <a:ext cx="1912212" cy="1912212"/>
              <a:chOff x="6185509" y="1914145"/>
              <a:chExt cx="1912212" cy="1912212"/>
            </a:xfrm>
          </p:grpSpPr>
          <p:pic>
            <p:nvPicPr>
              <p:cNvPr id="25618" name="圖片 3"/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185509" y="1914145"/>
                <a:ext cx="1912212" cy="191221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6" name="矩形 5"/>
              <p:cNvSpPr/>
              <p:nvPr/>
            </p:nvSpPr>
            <p:spPr>
              <a:xfrm>
                <a:off x="6730268" y="2231525"/>
                <a:ext cx="1060928" cy="1121937"/>
              </a:xfrm>
              <a:prstGeom prst="rect">
                <a:avLst/>
              </a:prstGeom>
              <a:solidFill>
                <a:srgbClr val="4F5D73"/>
              </a:solidFill>
              <a:ln w="76200">
                <a:solidFill>
                  <a:srgbClr val="4F5D7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TW" altLang="en-US"/>
              </a:p>
            </p:txBody>
          </p:sp>
          <p:sp>
            <p:nvSpPr>
              <p:cNvPr id="9" name="矩形 8"/>
              <p:cNvSpPr/>
              <p:nvPr/>
            </p:nvSpPr>
            <p:spPr>
              <a:xfrm>
                <a:off x="6423741" y="2309283"/>
                <a:ext cx="1059341" cy="1121936"/>
              </a:xfrm>
              <a:prstGeom prst="rect">
                <a:avLst/>
              </a:prstGeom>
              <a:solidFill>
                <a:srgbClr val="4F5D73"/>
              </a:solidFill>
              <a:ln w="76200">
                <a:solidFill>
                  <a:srgbClr val="4F5D7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TW" altLang="en-US"/>
              </a:p>
            </p:txBody>
          </p:sp>
          <p:sp>
            <p:nvSpPr>
              <p:cNvPr id="10" name="矩形 9"/>
              <p:cNvSpPr/>
              <p:nvPr/>
            </p:nvSpPr>
            <p:spPr>
              <a:xfrm>
                <a:off x="6576210" y="2380693"/>
                <a:ext cx="1060928" cy="1121937"/>
              </a:xfrm>
              <a:prstGeom prst="rect">
                <a:avLst/>
              </a:prstGeom>
              <a:solidFill>
                <a:srgbClr val="4F5D73"/>
              </a:solidFill>
              <a:ln w="76200">
                <a:solidFill>
                  <a:srgbClr val="4F5D73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TW" altLang="en-US"/>
              </a:p>
            </p:txBody>
          </p:sp>
        </p:grpSp>
        <p:pic>
          <p:nvPicPr>
            <p:cNvPr id="25617" name="圖片 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8916" y="2057552"/>
              <a:ext cx="1625397" cy="16253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5606" name="矩形 11"/>
          <p:cNvSpPr>
            <a:spLocks noChangeArrowheads="1"/>
          </p:cNvSpPr>
          <p:nvPr/>
        </p:nvSpPr>
        <p:spPr bwMode="auto">
          <a:xfrm>
            <a:off x="766763" y="4319588"/>
            <a:ext cx="1966912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zh-TW">
                <a:latin typeface="微軟正黑體" panose="020B0604030504040204" pitchFamily="34" charset="-120"/>
                <a:ea typeface="微軟正黑體" panose="020B0604030504040204" pitchFamily="34" charset="-120"/>
              </a:rPr>
              <a:t>/ </a:t>
            </a:r>
            <a:r>
              <a:rPr lang="zh-TW" altLang="en-US">
                <a:latin typeface="微軟正黑體" panose="020B0604030504040204" pitchFamily="34" charset="-120"/>
                <a:ea typeface="微軟正黑體" panose="020B0604030504040204" pitchFamily="34" charset="-120"/>
              </a:rPr>
              <a:t>自主行動</a:t>
            </a:r>
            <a:endParaRPr lang="zh-TW" altLang="en-US" sz="180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5607" name="矩形 12"/>
          <p:cNvSpPr>
            <a:spLocks noChangeArrowheads="1"/>
          </p:cNvSpPr>
          <p:nvPr/>
        </p:nvSpPr>
        <p:spPr bwMode="auto">
          <a:xfrm>
            <a:off x="3629025" y="4319588"/>
            <a:ext cx="1968500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zh-TW">
                <a:latin typeface="微軟正黑體" panose="020B0604030504040204" pitchFamily="34" charset="-120"/>
                <a:ea typeface="微軟正黑體" panose="020B0604030504040204" pitchFamily="34" charset="-120"/>
              </a:rPr>
              <a:t>/ </a:t>
            </a:r>
            <a:r>
              <a:rPr lang="zh-TW" altLang="en-US">
                <a:latin typeface="微軟正黑體" panose="020B0604030504040204" pitchFamily="34" charset="-120"/>
                <a:ea typeface="微軟正黑體" panose="020B0604030504040204" pitchFamily="34" charset="-120"/>
              </a:rPr>
              <a:t>溝通互動</a:t>
            </a:r>
            <a:endParaRPr lang="zh-TW" altLang="en-US" sz="180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5608" name="矩形 13"/>
          <p:cNvSpPr>
            <a:spLocks noChangeArrowheads="1"/>
          </p:cNvSpPr>
          <p:nvPr/>
        </p:nvSpPr>
        <p:spPr bwMode="auto">
          <a:xfrm>
            <a:off x="6437313" y="4257675"/>
            <a:ext cx="1968500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zh-TW">
                <a:latin typeface="微軟正黑體" panose="020B0604030504040204" pitchFamily="34" charset="-120"/>
                <a:ea typeface="微軟正黑體" panose="020B0604030504040204" pitchFamily="34" charset="-120"/>
              </a:rPr>
              <a:t>/ </a:t>
            </a:r>
            <a:r>
              <a:rPr lang="zh-TW" altLang="en-US">
                <a:latin typeface="微軟正黑體" panose="020B0604030504040204" pitchFamily="34" charset="-120"/>
                <a:ea typeface="微軟正黑體" panose="020B0604030504040204" pitchFamily="34" charset="-120"/>
              </a:rPr>
              <a:t>社會參與</a:t>
            </a:r>
            <a:endParaRPr lang="zh-TW" altLang="en-US" sz="180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pic>
        <p:nvPicPr>
          <p:cNvPr id="25609" name="圖片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11" t="11015" r="73772" b="78975"/>
          <a:stretch>
            <a:fillRect/>
          </a:stretch>
        </p:blipFill>
        <p:spPr bwMode="auto">
          <a:xfrm>
            <a:off x="157163" y="6388100"/>
            <a:ext cx="12192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10" name="圖片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48" t="11681" r="43912" b="78810"/>
          <a:stretch>
            <a:fillRect/>
          </a:stretch>
        </p:blipFill>
        <p:spPr bwMode="auto">
          <a:xfrm>
            <a:off x="1547813" y="6388100"/>
            <a:ext cx="1049337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11" name="圖片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138" t="11253" r="5399" b="79237"/>
          <a:stretch>
            <a:fillRect/>
          </a:stretch>
        </p:blipFill>
        <p:spPr bwMode="auto">
          <a:xfrm>
            <a:off x="2770188" y="6381750"/>
            <a:ext cx="13763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標題 1"/>
          <p:cNvSpPr txBox="1">
            <a:spLocks/>
          </p:cNvSpPr>
          <p:nvPr/>
        </p:nvSpPr>
        <p:spPr>
          <a:xfrm>
            <a:off x="179388" y="209550"/>
            <a:ext cx="4970462" cy="71913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auto">
              <a:spcAft>
                <a:spcPts val="0"/>
              </a:spcAft>
              <a:defRPr/>
            </a:pPr>
            <a:r>
              <a:rPr lang="zh-TW" alt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核心素養</a:t>
            </a:r>
            <a:r>
              <a:rPr lang="en-US" altLang="zh-TW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-</a:t>
            </a:r>
            <a:r>
              <a:rPr lang="zh-TW" alt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三面九項</a:t>
            </a:r>
          </a:p>
        </p:txBody>
      </p:sp>
      <p:cxnSp>
        <p:nvCxnSpPr>
          <p:cNvPr id="19" name="直線接點 18"/>
          <p:cNvCxnSpPr/>
          <p:nvPr/>
        </p:nvCxnSpPr>
        <p:spPr>
          <a:xfrm>
            <a:off x="0" y="976313"/>
            <a:ext cx="5194300" cy="0"/>
          </a:xfrm>
          <a:prstGeom prst="line">
            <a:avLst/>
          </a:prstGeom>
          <a:ln w="57150">
            <a:solidFill>
              <a:srgbClr val="76C2A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線接點 19"/>
          <p:cNvCxnSpPr/>
          <p:nvPr/>
        </p:nvCxnSpPr>
        <p:spPr>
          <a:xfrm>
            <a:off x="158750" y="1089025"/>
            <a:ext cx="5205413" cy="0"/>
          </a:xfrm>
          <a:prstGeom prst="line">
            <a:avLst/>
          </a:prstGeom>
          <a:ln w="57150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15" name="投影片編號版面配置區 20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84938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1DB3839D-E7FA-4C8A-8132-15A8B710F77A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7</a:t>
            </a:fld>
            <a:endParaRPr lang="zh-TW" altLang="en-US" sz="1200">
              <a:solidFill>
                <a:srgbClr val="898989"/>
              </a:solidFill>
            </a:endParaRPr>
          </a:p>
        </p:txBody>
      </p:sp>
    </p:spTree>
  </p:cSld>
  <p:clrMapOvr>
    <a:masterClrMapping/>
  </p:clrMapOvr>
  <p:transition spd="med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標題 1"/>
          <p:cNvSpPr>
            <a:spLocks noGrp="1"/>
          </p:cNvSpPr>
          <p:nvPr>
            <p:ph type="title"/>
          </p:nvPr>
        </p:nvSpPr>
        <p:spPr>
          <a:xfrm>
            <a:off x="352425" y="17463"/>
            <a:ext cx="2647950" cy="996950"/>
          </a:xfrm>
        </p:spPr>
        <p:txBody>
          <a:bodyPr rtlCol="0">
            <a:normAutofit/>
          </a:bodyPr>
          <a:lstStyle/>
          <a:p>
            <a:pPr eaLnBrk="1" fontAlgn="auto" hangingPunct="1">
              <a:spcAft>
                <a:spcPts val="0"/>
              </a:spcAft>
              <a:defRPr/>
            </a:pPr>
            <a:r>
              <a:rPr lang="zh-TW" altLang="en-US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核心素養</a:t>
            </a:r>
          </a:p>
        </p:txBody>
      </p:sp>
      <p:cxnSp>
        <p:nvCxnSpPr>
          <p:cNvPr id="7" name="直線接點 6"/>
          <p:cNvCxnSpPr/>
          <p:nvPr/>
        </p:nvCxnSpPr>
        <p:spPr>
          <a:xfrm>
            <a:off x="0" y="976313"/>
            <a:ext cx="3162300" cy="0"/>
          </a:xfrm>
          <a:prstGeom prst="line">
            <a:avLst/>
          </a:prstGeom>
          <a:ln w="57150">
            <a:solidFill>
              <a:srgbClr val="76C2AF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線接點 7"/>
          <p:cNvCxnSpPr/>
          <p:nvPr/>
        </p:nvCxnSpPr>
        <p:spPr>
          <a:xfrm>
            <a:off x="158750" y="1089025"/>
            <a:ext cx="3162300" cy="0"/>
          </a:xfrm>
          <a:prstGeom prst="line">
            <a:avLst/>
          </a:prstGeom>
          <a:ln w="57150">
            <a:solidFill>
              <a:schemeClr val="accent1">
                <a:lumMod val="60000"/>
                <a:lumOff val="40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629" name="群組 4"/>
          <p:cNvGrpSpPr>
            <a:grpSpLocks/>
          </p:cNvGrpSpPr>
          <p:nvPr/>
        </p:nvGrpSpPr>
        <p:grpSpPr bwMode="auto">
          <a:xfrm>
            <a:off x="1881188" y="17463"/>
            <a:ext cx="8007350" cy="6340475"/>
            <a:chOff x="1460660" y="229374"/>
            <a:chExt cx="8006723" cy="6340361"/>
          </a:xfrm>
        </p:grpSpPr>
        <p:grpSp>
          <p:nvGrpSpPr>
            <p:cNvPr id="26639" name="群組 41"/>
            <p:cNvGrpSpPr>
              <a:grpSpLocks/>
            </p:cNvGrpSpPr>
            <p:nvPr/>
          </p:nvGrpSpPr>
          <p:grpSpPr bwMode="auto">
            <a:xfrm>
              <a:off x="1460660" y="774395"/>
              <a:ext cx="8006723" cy="5352869"/>
              <a:chOff x="596502" y="1126087"/>
              <a:chExt cx="8006723" cy="5352869"/>
            </a:xfrm>
          </p:grpSpPr>
          <p:graphicFrame>
            <p:nvGraphicFramePr>
              <p:cNvPr id="26675" name="圖表 14"/>
              <p:cNvGraphicFramePr>
                <a:graphicFrameLocks/>
              </p:cNvGraphicFramePr>
              <p:nvPr/>
            </p:nvGraphicFramePr>
            <p:xfrm>
              <a:off x="545702" y="1075287"/>
              <a:ext cx="8108323" cy="5454469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025" name="圖表" r:id="rId4" imgW="8114479" imgH="5456393" progId="">
                      <p:embed/>
                    </p:oleObj>
                  </mc:Choice>
                  <mc:Fallback>
                    <p:oleObj name="圖表" r:id="rId4" imgW="8114479" imgH="5456393" progId="">
                      <p:embed/>
                      <p:pic>
                        <p:nvPicPr>
                          <p:cNvPr id="26675" name="圖表 14"/>
                          <p:cNvPicPr>
                            <a:picLocks noChangeArrowheads="1"/>
                          </p:cNvPicPr>
                          <p:nvPr/>
                        </p:nvPicPr>
                        <p:blipFill>
                          <a:blip r:embed="rId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545702" y="1075287"/>
                            <a:ext cx="8108323" cy="5454469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26676" name="文字方塊 19"/>
              <p:cNvSpPr txBox="1">
                <a:spLocks noChangeArrowheads="1"/>
              </p:cNvSpPr>
              <p:nvPr/>
            </p:nvSpPr>
            <p:spPr bwMode="auto">
              <a:xfrm>
                <a:off x="2286177" y="2419435"/>
                <a:ext cx="975656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系統思考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與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解決問題</a:t>
                </a:r>
              </a:p>
            </p:txBody>
          </p:sp>
          <p:sp>
            <p:nvSpPr>
              <p:cNvPr id="26677" name="文字方塊 20"/>
              <p:cNvSpPr txBox="1">
                <a:spLocks noChangeArrowheads="1"/>
              </p:cNvSpPr>
              <p:nvPr/>
            </p:nvSpPr>
            <p:spPr bwMode="auto">
              <a:xfrm>
                <a:off x="3414543" y="1509951"/>
                <a:ext cx="975656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規劃執行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與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創新應變</a:t>
                </a:r>
              </a:p>
            </p:txBody>
          </p:sp>
          <p:sp>
            <p:nvSpPr>
              <p:cNvPr id="26678" name="文字方塊 21"/>
              <p:cNvSpPr txBox="1">
                <a:spLocks noChangeArrowheads="1"/>
              </p:cNvSpPr>
              <p:nvPr/>
            </p:nvSpPr>
            <p:spPr bwMode="auto">
              <a:xfrm>
                <a:off x="4776705" y="1509951"/>
                <a:ext cx="975656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符號運用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與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溝通表達</a:t>
                </a:r>
              </a:p>
            </p:txBody>
          </p:sp>
          <p:sp>
            <p:nvSpPr>
              <p:cNvPr id="26679" name="文字方塊 22"/>
              <p:cNvSpPr txBox="1">
                <a:spLocks noChangeArrowheads="1"/>
              </p:cNvSpPr>
              <p:nvPr/>
            </p:nvSpPr>
            <p:spPr bwMode="auto">
              <a:xfrm>
                <a:off x="5937892" y="2419435"/>
                <a:ext cx="975656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科技資訊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與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媒體素養</a:t>
                </a:r>
              </a:p>
            </p:txBody>
          </p:sp>
          <p:sp>
            <p:nvSpPr>
              <p:cNvPr id="26680" name="文字方塊 23"/>
              <p:cNvSpPr txBox="1">
                <a:spLocks noChangeArrowheads="1"/>
              </p:cNvSpPr>
              <p:nvPr/>
            </p:nvSpPr>
            <p:spPr bwMode="auto">
              <a:xfrm>
                <a:off x="6115842" y="3802520"/>
                <a:ext cx="975656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藝術涵養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與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美感素養</a:t>
                </a:r>
              </a:p>
            </p:txBody>
          </p:sp>
          <p:sp>
            <p:nvSpPr>
              <p:cNvPr id="26681" name="文字方塊 24"/>
              <p:cNvSpPr txBox="1">
                <a:spLocks noChangeArrowheads="1"/>
              </p:cNvSpPr>
              <p:nvPr/>
            </p:nvSpPr>
            <p:spPr bwMode="auto">
              <a:xfrm>
                <a:off x="5450064" y="5018206"/>
                <a:ext cx="975656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道德實踐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與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公民意識</a:t>
                </a:r>
              </a:p>
            </p:txBody>
          </p:sp>
          <p:sp>
            <p:nvSpPr>
              <p:cNvPr id="26682" name="文字方塊 25"/>
              <p:cNvSpPr txBox="1">
                <a:spLocks noChangeArrowheads="1"/>
              </p:cNvSpPr>
              <p:nvPr/>
            </p:nvSpPr>
            <p:spPr bwMode="auto">
              <a:xfrm>
                <a:off x="4115712" y="5485969"/>
                <a:ext cx="975656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人際關係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與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團隊合作</a:t>
                </a:r>
              </a:p>
            </p:txBody>
          </p:sp>
          <p:sp>
            <p:nvSpPr>
              <p:cNvPr id="26683" name="文字方塊 26"/>
              <p:cNvSpPr txBox="1">
                <a:spLocks noChangeArrowheads="1"/>
              </p:cNvSpPr>
              <p:nvPr/>
            </p:nvSpPr>
            <p:spPr bwMode="auto">
              <a:xfrm>
                <a:off x="2781360" y="5018206"/>
                <a:ext cx="975656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多元文化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與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國際理解</a:t>
                </a:r>
              </a:p>
            </p:txBody>
          </p:sp>
          <p:sp>
            <p:nvSpPr>
              <p:cNvPr id="26684" name="文字方塊 27"/>
              <p:cNvSpPr txBox="1">
                <a:spLocks noChangeArrowheads="1"/>
              </p:cNvSpPr>
              <p:nvPr/>
            </p:nvSpPr>
            <p:spPr bwMode="auto">
              <a:xfrm>
                <a:off x="2062015" y="3822033"/>
                <a:ext cx="975656" cy="7386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lnSpc>
                    <a:spcPct val="9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8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4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Calibri" panose="020F0502020204030204" pitchFamily="34" charset="0"/>
                    <a:ea typeface="新細明體" panose="02020500000000000000" pitchFamily="18" charset="-12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身心素質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與</a:t>
                </a:r>
              </a:p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Tx/>
                  <a:buNone/>
                </a:pPr>
                <a:r>
                  <a:rPr lang="zh-TW" altLang="en-US" sz="1400" b="1">
                    <a:solidFill>
                      <a:schemeClr val="bg1"/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自我精進</a:t>
                </a:r>
              </a:p>
            </p:txBody>
          </p:sp>
        </p:grpSp>
        <p:grpSp>
          <p:nvGrpSpPr>
            <p:cNvPr id="26640" name="群組 42"/>
            <p:cNvGrpSpPr>
              <a:grpSpLocks/>
            </p:cNvGrpSpPr>
            <p:nvPr/>
          </p:nvGrpSpPr>
          <p:grpSpPr bwMode="auto">
            <a:xfrm>
              <a:off x="3317166" y="1699245"/>
              <a:ext cx="4293707" cy="3522829"/>
              <a:chOff x="7651353" y="3535609"/>
              <a:chExt cx="4293707" cy="3522829"/>
            </a:xfrm>
          </p:grpSpPr>
          <p:graphicFrame>
            <p:nvGraphicFramePr>
              <p:cNvPr id="26662" name="圖表 18"/>
              <p:cNvGraphicFramePr>
                <a:graphicFrameLocks/>
              </p:cNvGraphicFramePr>
              <p:nvPr/>
            </p:nvGraphicFramePr>
            <p:xfrm>
              <a:off x="7600553" y="3484809"/>
              <a:ext cx="4395307" cy="3624429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1026" name="圖表" r:id="rId6" imgW="4401693" imgH="3633531" progId="">
                      <p:embed/>
                    </p:oleObj>
                  </mc:Choice>
                  <mc:Fallback>
                    <p:oleObj name="圖表" r:id="rId6" imgW="4401693" imgH="3633531" progId="">
                      <p:embed/>
                      <p:pic>
                        <p:nvPicPr>
                          <p:cNvPr id="26662" name="圖表 18"/>
                          <p:cNvPicPr>
                            <a:picLocks noChangeArrowheads="1"/>
                          </p:cNvPicPr>
                          <p:nvPr/>
                        </p:nvPicPr>
                        <p:blipFill>
                          <a:blip r:embed="rId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7600553" y="3484809"/>
                            <a:ext cx="4395307" cy="3624429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29" name="文字方塊 28"/>
              <p:cNvSpPr txBox="1"/>
              <p:nvPr/>
            </p:nvSpPr>
            <p:spPr>
              <a:xfrm>
                <a:off x="8348934" y="5283543"/>
                <a:ext cx="439704" cy="33813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600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自</a:t>
                </a:r>
                <a:endParaRPr lang="en-US" altLang="zh-TW" sz="1600" b="1" dirty="0">
                  <a:solidFill>
                    <a:schemeClr val="bg1">
                      <a:lumMod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0" name="文字方塊 29"/>
              <p:cNvSpPr txBox="1"/>
              <p:nvPr/>
            </p:nvSpPr>
            <p:spPr>
              <a:xfrm>
                <a:off x="8421954" y="4751740"/>
                <a:ext cx="438116" cy="338131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600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主</a:t>
                </a:r>
                <a:endParaRPr lang="en-US" altLang="zh-TW" sz="1600" b="1" dirty="0">
                  <a:solidFill>
                    <a:schemeClr val="bg1">
                      <a:lumMod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1" name="文字方塊 30"/>
              <p:cNvSpPr txBox="1"/>
              <p:nvPr/>
            </p:nvSpPr>
            <p:spPr>
              <a:xfrm>
                <a:off x="8685458" y="4283436"/>
                <a:ext cx="438116" cy="33813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600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行</a:t>
                </a:r>
                <a:endParaRPr lang="en-US" altLang="zh-TW" sz="1600" b="1" dirty="0">
                  <a:solidFill>
                    <a:schemeClr val="bg1">
                      <a:lumMod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2" name="文字方塊 31"/>
              <p:cNvSpPr txBox="1"/>
              <p:nvPr/>
            </p:nvSpPr>
            <p:spPr>
              <a:xfrm>
                <a:off x="9156909" y="3958004"/>
                <a:ext cx="438116" cy="338131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600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動</a:t>
                </a:r>
                <a:endParaRPr lang="en-US" altLang="zh-TW" sz="1600" b="1" dirty="0">
                  <a:solidFill>
                    <a:schemeClr val="bg1">
                      <a:lumMod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3" name="文字方塊 32"/>
              <p:cNvSpPr txBox="1"/>
              <p:nvPr/>
            </p:nvSpPr>
            <p:spPr>
              <a:xfrm>
                <a:off x="9877578" y="3958004"/>
                <a:ext cx="439703" cy="338131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600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溝</a:t>
                </a:r>
                <a:endParaRPr lang="en-US" altLang="zh-TW" sz="1600" b="1" dirty="0">
                  <a:solidFill>
                    <a:schemeClr val="bg1">
                      <a:lumMod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4" name="文字方塊 33"/>
              <p:cNvSpPr txBox="1"/>
              <p:nvPr/>
            </p:nvSpPr>
            <p:spPr>
              <a:xfrm>
                <a:off x="10395062" y="4283436"/>
                <a:ext cx="438116" cy="33813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600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通</a:t>
                </a:r>
                <a:endParaRPr lang="en-US" altLang="zh-TW" sz="1600" b="1" dirty="0">
                  <a:solidFill>
                    <a:schemeClr val="bg1">
                      <a:lumMod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5" name="文字方塊 34"/>
              <p:cNvSpPr txBox="1"/>
              <p:nvPr/>
            </p:nvSpPr>
            <p:spPr>
              <a:xfrm>
                <a:off x="10731586" y="4751740"/>
                <a:ext cx="438116" cy="338131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600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互</a:t>
                </a:r>
                <a:endParaRPr lang="en-US" altLang="zh-TW" sz="1600" b="1" dirty="0">
                  <a:solidFill>
                    <a:schemeClr val="bg1">
                      <a:lumMod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6" name="文字方塊 35"/>
              <p:cNvSpPr txBox="1"/>
              <p:nvPr/>
            </p:nvSpPr>
            <p:spPr>
              <a:xfrm>
                <a:off x="10698251" y="5283543"/>
                <a:ext cx="438116" cy="33813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600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動</a:t>
                </a:r>
                <a:endParaRPr lang="en-US" altLang="zh-TW" sz="1600" b="1" dirty="0">
                  <a:solidFill>
                    <a:schemeClr val="bg1">
                      <a:lumMod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7" name="文字方塊 36"/>
              <p:cNvSpPr txBox="1"/>
              <p:nvPr/>
            </p:nvSpPr>
            <p:spPr>
              <a:xfrm>
                <a:off x="10318868" y="6045529"/>
                <a:ext cx="438116" cy="33813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600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與</a:t>
                </a:r>
                <a:endParaRPr lang="en-US" altLang="zh-TW" sz="1600" b="1" dirty="0">
                  <a:solidFill>
                    <a:schemeClr val="bg1">
                      <a:lumMod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8" name="文字方塊 37"/>
              <p:cNvSpPr txBox="1"/>
              <p:nvPr/>
            </p:nvSpPr>
            <p:spPr>
              <a:xfrm>
                <a:off x="9906151" y="6420172"/>
                <a:ext cx="438116" cy="339719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600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參</a:t>
                </a:r>
                <a:endParaRPr lang="en-US" altLang="zh-TW" sz="1600" b="1" dirty="0">
                  <a:solidFill>
                    <a:schemeClr val="bg1">
                      <a:lumMod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39" name="文字方塊 38"/>
              <p:cNvSpPr txBox="1"/>
              <p:nvPr/>
            </p:nvSpPr>
            <p:spPr>
              <a:xfrm>
                <a:off x="9212467" y="6410648"/>
                <a:ext cx="438116" cy="33813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600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會</a:t>
                </a:r>
                <a:endParaRPr lang="en-US" altLang="zh-TW" sz="1600" b="1" dirty="0">
                  <a:solidFill>
                    <a:schemeClr val="bg1">
                      <a:lumMod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  <p:sp>
            <p:nvSpPr>
              <p:cNvPr id="40" name="文字方塊 39"/>
              <p:cNvSpPr txBox="1"/>
              <p:nvPr/>
            </p:nvSpPr>
            <p:spPr>
              <a:xfrm>
                <a:off x="8701332" y="6055054"/>
                <a:ext cx="438116" cy="338132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1600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社</a:t>
                </a:r>
                <a:endParaRPr lang="en-US" altLang="zh-TW" sz="1600" b="1" dirty="0">
                  <a:solidFill>
                    <a:schemeClr val="bg1">
                      <a:lumMod val="50000"/>
                    </a:schemeClr>
                  </a:solidFill>
                  <a:latin typeface="微軟正黑體" panose="020B0604030504040204" pitchFamily="34" charset="-120"/>
                  <a:ea typeface="微軟正黑體" panose="020B0604030504040204" pitchFamily="34" charset="-120"/>
                </a:endParaRPr>
              </a:p>
            </p:txBody>
          </p:sp>
        </p:grpSp>
        <p:grpSp>
          <p:nvGrpSpPr>
            <p:cNvPr id="26641" name="群組 45"/>
            <p:cNvGrpSpPr>
              <a:grpSpLocks/>
            </p:cNvGrpSpPr>
            <p:nvPr/>
          </p:nvGrpSpPr>
          <p:grpSpPr bwMode="auto">
            <a:xfrm>
              <a:off x="4652157" y="2648068"/>
              <a:ext cx="1601629" cy="1615694"/>
              <a:chOff x="3787999" y="2999760"/>
              <a:chExt cx="1601629" cy="1615694"/>
            </a:xfrm>
          </p:grpSpPr>
          <p:sp>
            <p:nvSpPr>
              <p:cNvPr id="44" name="橢圓 43"/>
              <p:cNvSpPr/>
              <p:nvPr/>
            </p:nvSpPr>
            <p:spPr>
              <a:xfrm>
                <a:off x="3788714" y="3000373"/>
                <a:ext cx="1601663" cy="1614458"/>
              </a:xfrm>
              <a:prstGeom prst="ellipse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2857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TW" altLang="en-US"/>
              </a:p>
            </p:txBody>
          </p:sp>
          <p:sp>
            <p:nvSpPr>
              <p:cNvPr id="45" name="文字方塊 44"/>
              <p:cNvSpPr txBox="1"/>
              <p:nvPr/>
            </p:nvSpPr>
            <p:spPr>
              <a:xfrm>
                <a:off x="3887131" y="3576625"/>
                <a:ext cx="1454037" cy="461955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sz="2400" b="1" dirty="0">
                    <a:solidFill>
                      <a:schemeClr val="accent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終身學習</a:t>
                </a:r>
              </a:p>
            </p:txBody>
          </p:sp>
        </p:grpSp>
        <p:grpSp>
          <p:nvGrpSpPr>
            <p:cNvPr id="26642" name="群組 60"/>
            <p:cNvGrpSpPr>
              <a:grpSpLocks/>
            </p:cNvGrpSpPr>
            <p:nvPr/>
          </p:nvGrpSpPr>
          <p:grpSpPr bwMode="auto">
            <a:xfrm>
              <a:off x="3897198" y="229374"/>
              <a:ext cx="3293806" cy="964060"/>
              <a:chOff x="3756521" y="581066"/>
              <a:chExt cx="3293806" cy="964060"/>
            </a:xfrm>
          </p:grpSpPr>
          <p:sp>
            <p:nvSpPr>
              <p:cNvPr id="56" name="手繪多邊形 55"/>
              <p:cNvSpPr/>
              <p:nvPr/>
            </p:nvSpPr>
            <p:spPr>
              <a:xfrm>
                <a:off x="3756604" y="581066"/>
                <a:ext cx="3293805" cy="639751"/>
              </a:xfrm>
              <a:custGeom>
                <a:avLst/>
                <a:gdLst>
                  <a:gd name="connsiteX0" fmla="*/ 0 w 3293806"/>
                  <a:gd name="connsiteY0" fmla="*/ 610576 h 640073"/>
                  <a:gd name="connsiteX1" fmla="*/ 98322 w 3293806"/>
                  <a:gd name="connsiteY1" fmla="*/ 541750 h 640073"/>
                  <a:gd name="connsiteX2" fmla="*/ 304800 w 3293806"/>
                  <a:gd name="connsiteY2" fmla="*/ 384434 h 640073"/>
                  <a:gd name="connsiteX3" fmla="*/ 589935 w 3293806"/>
                  <a:gd name="connsiteY3" fmla="*/ 236950 h 640073"/>
                  <a:gd name="connsiteX4" fmla="*/ 806245 w 3293806"/>
                  <a:gd name="connsiteY4" fmla="*/ 158292 h 640073"/>
                  <a:gd name="connsiteX5" fmla="*/ 1140542 w 3293806"/>
                  <a:gd name="connsiteY5" fmla="*/ 50137 h 640073"/>
                  <a:gd name="connsiteX6" fmla="*/ 1553496 w 3293806"/>
                  <a:gd name="connsiteY6" fmla="*/ 976 h 640073"/>
                  <a:gd name="connsiteX7" fmla="*/ 1779638 w 3293806"/>
                  <a:gd name="connsiteY7" fmla="*/ 20641 h 640073"/>
                  <a:gd name="connsiteX8" fmla="*/ 2113935 w 3293806"/>
                  <a:gd name="connsiteY8" fmla="*/ 59970 h 640073"/>
                  <a:gd name="connsiteX9" fmla="*/ 2566219 w 3293806"/>
                  <a:gd name="connsiteY9" fmla="*/ 177957 h 640073"/>
                  <a:gd name="connsiteX10" fmla="*/ 2880851 w 3293806"/>
                  <a:gd name="connsiteY10" fmla="*/ 364770 h 640073"/>
                  <a:gd name="connsiteX11" fmla="*/ 3106993 w 3293806"/>
                  <a:gd name="connsiteY11" fmla="*/ 512253 h 640073"/>
                  <a:gd name="connsiteX12" fmla="*/ 3293806 w 3293806"/>
                  <a:gd name="connsiteY12" fmla="*/ 640073 h 640073"/>
                  <a:gd name="connsiteX13" fmla="*/ 3293806 w 3293806"/>
                  <a:gd name="connsiteY13" fmla="*/ 640073 h 640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93806" h="640073">
                    <a:moveTo>
                      <a:pt x="0" y="610576"/>
                    </a:moveTo>
                    <a:cubicBezTo>
                      <a:pt x="23761" y="595008"/>
                      <a:pt x="47522" y="579440"/>
                      <a:pt x="98322" y="541750"/>
                    </a:cubicBezTo>
                    <a:cubicBezTo>
                      <a:pt x="149122" y="504060"/>
                      <a:pt x="222865" y="435234"/>
                      <a:pt x="304800" y="384434"/>
                    </a:cubicBezTo>
                    <a:cubicBezTo>
                      <a:pt x="386735" y="333634"/>
                      <a:pt x="506361" y="274640"/>
                      <a:pt x="589935" y="236950"/>
                    </a:cubicBezTo>
                    <a:cubicBezTo>
                      <a:pt x="673509" y="199260"/>
                      <a:pt x="714477" y="189427"/>
                      <a:pt x="806245" y="158292"/>
                    </a:cubicBezTo>
                    <a:cubicBezTo>
                      <a:pt x="898013" y="127157"/>
                      <a:pt x="1016000" y="76356"/>
                      <a:pt x="1140542" y="50137"/>
                    </a:cubicBezTo>
                    <a:cubicBezTo>
                      <a:pt x="1265084" y="23918"/>
                      <a:pt x="1446980" y="5892"/>
                      <a:pt x="1553496" y="976"/>
                    </a:cubicBezTo>
                    <a:cubicBezTo>
                      <a:pt x="1660012" y="-3940"/>
                      <a:pt x="1686232" y="10809"/>
                      <a:pt x="1779638" y="20641"/>
                    </a:cubicBezTo>
                    <a:cubicBezTo>
                      <a:pt x="1873045" y="30473"/>
                      <a:pt x="1982838" y="33751"/>
                      <a:pt x="2113935" y="59970"/>
                    </a:cubicBezTo>
                    <a:cubicBezTo>
                      <a:pt x="2245032" y="86189"/>
                      <a:pt x="2438400" y="127157"/>
                      <a:pt x="2566219" y="177957"/>
                    </a:cubicBezTo>
                    <a:cubicBezTo>
                      <a:pt x="2694038" y="228757"/>
                      <a:pt x="2790722" y="309054"/>
                      <a:pt x="2880851" y="364770"/>
                    </a:cubicBezTo>
                    <a:cubicBezTo>
                      <a:pt x="2970980" y="420486"/>
                      <a:pt x="3038167" y="466369"/>
                      <a:pt x="3106993" y="512253"/>
                    </a:cubicBezTo>
                    <a:cubicBezTo>
                      <a:pt x="3175819" y="558137"/>
                      <a:pt x="3293806" y="640073"/>
                      <a:pt x="3293806" y="640073"/>
                    </a:cubicBezTo>
                    <a:lnTo>
                      <a:pt x="3293806" y="640073"/>
                    </a:lnTo>
                  </a:path>
                </a:pathLst>
              </a:custGeom>
              <a:noFill/>
              <a:ln w="76200">
                <a:prstDash val="solid"/>
                <a:headEnd type="none" w="med" len="med"/>
                <a:tailEnd type="arrow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TW" altLang="en-US"/>
              </a:p>
            </p:txBody>
          </p:sp>
          <p:sp>
            <p:nvSpPr>
              <p:cNvPr id="58" name="文字方塊 57"/>
              <p:cNvSpPr txBox="1"/>
              <p:nvPr/>
            </p:nvSpPr>
            <p:spPr>
              <a:xfrm>
                <a:off x="3921691" y="1174781"/>
                <a:ext cx="428591" cy="36988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生 </a:t>
                </a:r>
              </a:p>
            </p:txBody>
          </p:sp>
          <p:sp>
            <p:nvSpPr>
              <p:cNvPr id="62" name="文字方塊 61"/>
              <p:cNvSpPr txBox="1"/>
              <p:nvPr/>
            </p:nvSpPr>
            <p:spPr>
              <a:xfrm>
                <a:off x="4728078" y="885861"/>
                <a:ext cx="428591" cy="36988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活 </a:t>
                </a:r>
              </a:p>
            </p:txBody>
          </p:sp>
          <p:sp>
            <p:nvSpPr>
              <p:cNvPr id="63" name="文字方塊 62"/>
              <p:cNvSpPr txBox="1"/>
              <p:nvPr/>
            </p:nvSpPr>
            <p:spPr>
              <a:xfrm>
                <a:off x="5524940" y="885861"/>
                <a:ext cx="428591" cy="36988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情 </a:t>
                </a:r>
              </a:p>
            </p:txBody>
          </p:sp>
          <p:sp>
            <p:nvSpPr>
              <p:cNvPr id="64" name="文字方塊 63"/>
              <p:cNvSpPr txBox="1"/>
              <p:nvPr/>
            </p:nvSpPr>
            <p:spPr>
              <a:xfrm>
                <a:off x="6317041" y="1173193"/>
                <a:ext cx="428591" cy="369881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境 </a:t>
                </a:r>
              </a:p>
            </p:txBody>
          </p:sp>
        </p:grpSp>
        <p:grpSp>
          <p:nvGrpSpPr>
            <p:cNvPr id="26643" name="群組 73"/>
            <p:cNvGrpSpPr>
              <a:grpSpLocks/>
            </p:cNvGrpSpPr>
            <p:nvPr/>
          </p:nvGrpSpPr>
          <p:grpSpPr bwMode="auto">
            <a:xfrm>
              <a:off x="2427915" y="3194198"/>
              <a:ext cx="1580831" cy="3293806"/>
              <a:chOff x="2306546" y="3567189"/>
              <a:chExt cx="1580831" cy="3293806"/>
            </a:xfrm>
          </p:grpSpPr>
          <p:sp>
            <p:nvSpPr>
              <p:cNvPr id="57" name="手繪多邊形 56"/>
              <p:cNvSpPr/>
              <p:nvPr/>
            </p:nvSpPr>
            <p:spPr>
              <a:xfrm rot="14485936">
                <a:off x="1156644" y="4899669"/>
                <a:ext cx="3294003" cy="630188"/>
              </a:xfrm>
              <a:custGeom>
                <a:avLst/>
                <a:gdLst>
                  <a:gd name="connsiteX0" fmla="*/ 0 w 3293806"/>
                  <a:gd name="connsiteY0" fmla="*/ 610576 h 640073"/>
                  <a:gd name="connsiteX1" fmla="*/ 98322 w 3293806"/>
                  <a:gd name="connsiteY1" fmla="*/ 541750 h 640073"/>
                  <a:gd name="connsiteX2" fmla="*/ 304800 w 3293806"/>
                  <a:gd name="connsiteY2" fmla="*/ 384434 h 640073"/>
                  <a:gd name="connsiteX3" fmla="*/ 589935 w 3293806"/>
                  <a:gd name="connsiteY3" fmla="*/ 236950 h 640073"/>
                  <a:gd name="connsiteX4" fmla="*/ 806245 w 3293806"/>
                  <a:gd name="connsiteY4" fmla="*/ 158292 h 640073"/>
                  <a:gd name="connsiteX5" fmla="*/ 1140542 w 3293806"/>
                  <a:gd name="connsiteY5" fmla="*/ 50137 h 640073"/>
                  <a:gd name="connsiteX6" fmla="*/ 1553496 w 3293806"/>
                  <a:gd name="connsiteY6" fmla="*/ 976 h 640073"/>
                  <a:gd name="connsiteX7" fmla="*/ 1779638 w 3293806"/>
                  <a:gd name="connsiteY7" fmla="*/ 20641 h 640073"/>
                  <a:gd name="connsiteX8" fmla="*/ 2113935 w 3293806"/>
                  <a:gd name="connsiteY8" fmla="*/ 59970 h 640073"/>
                  <a:gd name="connsiteX9" fmla="*/ 2566219 w 3293806"/>
                  <a:gd name="connsiteY9" fmla="*/ 177957 h 640073"/>
                  <a:gd name="connsiteX10" fmla="*/ 2880851 w 3293806"/>
                  <a:gd name="connsiteY10" fmla="*/ 364770 h 640073"/>
                  <a:gd name="connsiteX11" fmla="*/ 3106993 w 3293806"/>
                  <a:gd name="connsiteY11" fmla="*/ 512253 h 640073"/>
                  <a:gd name="connsiteX12" fmla="*/ 3293806 w 3293806"/>
                  <a:gd name="connsiteY12" fmla="*/ 640073 h 640073"/>
                  <a:gd name="connsiteX13" fmla="*/ 3293806 w 3293806"/>
                  <a:gd name="connsiteY13" fmla="*/ 640073 h 640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93806" h="640073">
                    <a:moveTo>
                      <a:pt x="0" y="610576"/>
                    </a:moveTo>
                    <a:cubicBezTo>
                      <a:pt x="23761" y="595008"/>
                      <a:pt x="47522" y="579440"/>
                      <a:pt x="98322" y="541750"/>
                    </a:cubicBezTo>
                    <a:cubicBezTo>
                      <a:pt x="149122" y="504060"/>
                      <a:pt x="222865" y="435234"/>
                      <a:pt x="304800" y="384434"/>
                    </a:cubicBezTo>
                    <a:cubicBezTo>
                      <a:pt x="386735" y="333634"/>
                      <a:pt x="506361" y="274640"/>
                      <a:pt x="589935" y="236950"/>
                    </a:cubicBezTo>
                    <a:cubicBezTo>
                      <a:pt x="673509" y="199260"/>
                      <a:pt x="714477" y="189427"/>
                      <a:pt x="806245" y="158292"/>
                    </a:cubicBezTo>
                    <a:cubicBezTo>
                      <a:pt x="898013" y="127157"/>
                      <a:pt x="1016000" y="76356"/>
                      <a:pt x="1140542" y="50137"/>
                    </a:cubicBezTo>
                    <a:cubicBezTo>
                      <a:pt x="1265084" y="23918"/>
                      <a:pt x="1446980" y="5892"/>
                      <a:pt x="1553496" y="976"/>
                    </a:cubicBezTo>
                    <a:cubicBezTo>
                      <a:pt x="1660012" y="-3940"/>
                      <a:pt x="1686232" y="10809"/>
                      <a:pt x="1779638" y="20641"/>
                    </a:cubicBezTo>
                    <a:cubicBezTo>
                      <a:pt x="1873045" y="30473"/>
                      <a:pt x="1982838" y="33751"/>
                      <a:pt x="2113935" y="59970"/>
                    </a:cubicBezTo>
                    <a:cubicBezTo>
                      <a:pt x="2245032" y="86189"/>
                      <a:pt x="2438400" y="127157"/>
                      <a:pt x="2566219" y="177957"/>
                    </a:cubicBezTo>
                    <a:cubicBezTo>
                      <a:pt x="2694038" y="228757"/>
                      <a:pt x="2790722" y="309054"/>
                      <a:pt x="2880851" y="364770"/>
                    </a:cubicBezTo>
                    <a:cubicBezTo>
                      <a:pt x="2970980" y="420486"/>
                      <a:pt x="3038167" y="466369"/>
                      <a:pt x="3106993" y="512253"/>
                    </a:cubicBezTo>
                    <a:cubicBezTo>
                      <a:pt x="3175819" y="558137"/>
                      <a:pt x="3293806" y="640073"/>
                      <a:pt x="3293806" y="640073"/>
                    </a:cubicBezTo>
                    <a:lnTo>
                      <a:pt x="3293806" y="640073"/>
                    </a:lnTo>
                  </a:path>
                </a:pathLst>
              </a:custGeom>
              <a:noFill/>
              <a:ln w="76200">
                <a:prstDash val="solid"/>
                <a:headEnd type="none" w="med" len="med"/>
                <a:tailEnd type="arrow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TW" altLang="en-US"/>
              </a:p>
            </p:txBody>
          </p:sp>
          <p:sp>
            <p:nvSpPr>
              <p:cNvPr id="65" name="文字方塊 64"/>
              <p:cNvSpPr txBox="1"/>
              <p:nvPr/>
            </p:nvSpPr>
            <p:spPr>
              <a:xfrm>
                <a:off x="2306002" y="3988441"/>
                <a:ext cx="428591" cy="368293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生 </a:t>
                </a:r>
              </a:p>
            </p:txBody>
          </p:sp>
          <p:sp>
            <p:nvSpPr>
              <p:cNvPr id="66" name="文字方塊 65"/>
              <p:cNvSpPr txBox="1"/>
              <p:nvPr/>
            </p:nvSpPr>
            <p:spPr>
              <a:xfrm>
                <a:off x="2445691" y="4726616"/>
                <a:ext cx="428591" cy="368293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活 </a:t>
                </a:r>
              </a:p>
            </p:txBody>
          </p:sp>
          <p:sp>
            <p:nvSpPr>
              <p:cNvPr id="67" name="文字方塊 66"/>
              <p:cNvSpPr txBox="1"/>
              <p:nvPr/>
            </p:nvSpPr>
            <p:spPr>
              <a:xfrm>
                <a:off x="2874282" y="5434629"/>
                <a:ext cx="428591" cy="368293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情 </a:t>
                </a:r>
              </a:p>
            </p:txBody>
          </p:sp>
          <p:sp>
            <p:nvSpPr>
              <p:cNvPr id="68" name="文字方塊 67"/>
              <p:cNvSpPr txBox="1"/>
              <p:nvPr/>
            </p:nvSpPr>
            <p:spPr>
              <a:xfrm>
                <a:off x="3458437" y="5934682"/>
                <a:ext cx="428591" cy="368293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境 </a:t>
                </a:r>
              </a:p>
            </p:txBody>
          </p:sp>
        </p:grpSp>
        <p:grpSp>
          <p:nvGrpSpPr>
            <p:cNvPr id="26644" name="群組 72"/>
            <p:cNvGrpSpPr>
              <a:grpSpLocks/>
            </p:cNvGrpSpPr>
            <p:nvPr/>
          </p:nvGrpSpPr>
          <p:grpSpPr bwMode="auto">
            <a:xfrm>
              <a:off x="6976497" y="3275929"/>
              <a:ext cx="1541098" cy="3293806"/>
              <a:chOff x="6835820" y="3627621"/>
              <a:chExt cx="1541098" cy="3293806"/>
            </a:xfrm>
          </p:grpSpPr>
          <p:sp>
            <p:nvSpPr>
              <p:cNvPr id="54" name="手繪多邊形 53"/>
              <p:cNvSpPr/>
              <p:nvPr/>
            </p:nvSpPr>
            <p:spPr>
              <a:xfrm rot="6963265">
                <a:off x="6256621" y="4954570"/>
                <a:ext cx="3294004" cy="639712"/>
              </a:xfrm>
              <a:custGeom>
                <a:avLst/>
                <a:gdLst>
                  <a:gd name="connsiteX0" fmla="*/ 0 w 3293806"/>
                  <a:gd name="connsiteY0" fmla="*/ 610576 h 640073"/>
                  <a:gd name="connsiteX1" fmla="*/ 98322 w 3293806"/>
                  <a:gd name="connsiteY1" fmla="*/ 541750 h 640073"/>
                  <a:gd name="connsiteX2" fmla="*/ 304800 w 3293806"/>
                  <a:gd name="connsiteY2" fmla="*/ 384434 h 640073"/>
                  <a:gd name="connsiteX3" fmla="*/ 589935 w 3293806"/>
                  <a:gd name="connsiteY3" fmla="*/ 236950 h 640073"/>
                  <a:gd name="connsiteX4" fmla="*/ 806245 w 3293806"/>
                  <a:gd name="connsiteY4" fmla="*/ 158292 h 640073"/>
                  <a:gd name="connsiteX5" fmla="*/ 1140542 w 3293806"/>
                  <a:gd name="connsiteY5" fmla="*/ 50137 h 640073"/>
                  <a:gd name="connsiteX6" fmla="*/ 1553496 w 3293806"/>
                  <a:gd name="connsiteY6" fmla="*/ 976 h 640073"/>
                  <a:gd name="connsiteX7" fmla="*/ 1779638 w 3293806"/>
                  <a:gd name="connsiteY7" fmla="*/ 20641 h 640073"/>
                  <a:gd name="connsiteX8" fmla="*/ 2113935 w 3293806"/>
                  <a:gd name="connsiteY8" fmla="*/ 59970 h 640073"/>
                  <a:gd name="connsiteX9" fmla="*/ 2566219 w 3293806"/>
                  <a:gd name="connsiteY9" fmla="*/ 177957 h 640073"/>
                  <a:gd name="connsiteX10" fmla="*/ 2880851 w 3293806"/>
                  <a:gd name="connsiteY10" fmla="*/ 364770 h 640073"/>
                  <a:gd name="connsiteX11" fmla="*/ 3106993 w 3293806"/>
                  <a:gd name="connsiteY11" fmla="*/ 512253 h 640073"/>
                  <a:gd name="connsiteX12" fmla="*/ 3293806 w 3293806"/>
                  <a:gd name="connsiteY12" fmla="*/ 640073 h 640073"/>
                  <a:gd name="connsiteX13" fmla="*/ 3293806 w 3293806"/>
                  <a:gd name="connsiteY13" fmla="*/ 640073 h 6400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293806" h="640073">
                    <a:moveTo>
                      <a:pt x="0" y="610576"/>
                    </a:moveTo>
                    <a:cubicBezTo>
                      <a:pt x="23761" y="595008"/>
                      <a:pt x="47522" y="579440"/>
                      <a:pt x="98322" y="541750"/>
                    </a:cubicBezTo>
                    <a:cubicBezTo>
                      <a:pt x="149122" y="504060"/>
                      <a:pt x="222865" y="435234"/>
                      <a:pt x="304800" y="384434"/>
                    </a:cubicBezTo>
                    <a:cubicBezTo>
                      <a:pt x="386735" y="333634"/>
                      <a:pt x="506361" y="274640"/>
                      <a:pt x="589935" y="236950"/>
                    </a:cubicBezTo>
                    <a:cubicBezTo>
                      <a:pt x="673509" y="199260"/>
                      <a:pt x="714477" y="189427"/>
                      <a:pt x="806245" y="158292"/>
                    </a:cubicBezTo>
                    <a:cubicBezTo>
                      <a:pt x="898013" y="127157"/>
                      <a:pt x="1016000" y="76356"/>
                      <a:pt x="1140542" y="50137"/>
                    </a:cubicBezTo>
                    <a:cubicBezTo>
                      <a:pt x="1265084" y="23918"/>
                      <a:pt x="1446980" y="5892"/>
                      <a:pt x="1553496" y="976"/>
                    </a:cubicBezTo>
                    <a:cubicBezTo>
                      <a:pt x="1660012" y="-3940"/>
                      <a:pt x="1686232" y="10809"/>
                      <a:pt x="1779638" y="20641"/>
                    </a:cubicBezTo>
                    <a:cubicBezTo>
                      <a:pt x="1873045" y="30473"/>
                      <a:pt x="1982838" y="33751"/>
                      <a:pt x="2113935" y="59970"/>
                    </a:cubicBezTo>
                    <a:cubicBezTo>
                      <a:pt x="2245032" y="86189"/>
                      <a:pt x="2438400" y="127157"/>
                      <a:pt x="2566219" y="177957"/>
                    </a:cubicBezTo>
                    <a:cubicBezTo>
                      <a:pt x="2694038" y="228757"/>
                      <a:pt x="2790722" y="309054"/>
                      <a:pt x="2880851" y="364770"/>
                    </a:cubicBezTo>
                    <a:cubicBezTo>
                      <a:pt x="2970980" y="420486"/>
                      <a:pt x="3038167" y="466369"/>
                      <a:pt x="3106993" y="512253"/>
                    </a:cubicBezTo>
                    <a:cubicBezTo>
                      <a:pt x="3175819" y="558137"/>
                      <a:pt x="3293806" y="640073"/>
                      <a:pt x="3293806" y="640073"/>
                    </a:cubicBezTo>
                    <a:lnTo>
                      <a:pt x="3293806" y="640073"/>
                    </a:lnTo>
                  </a:path>
                </a:pathLst>
              </a:custGeom>
              <a:noFill/>
              <a:ln w="76200">
                <a:prstDash val="solid"/>
                <a:headEnd type="none" w="med" len="med"/>
                <a:tailEnd type="arrow" w="med" len="med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zh-TW" altLang="en-US"/>
              </a:p>
            </p:txBody>
          </p:sp>
          <p:sp>
            <p:nvSpPr>
              <p:cNvPr id="69" name="文字方塊 68"/>
              <p:cNvSpPr txBox="1"/>
              <p:nvPr/>
            </p:nvSpPr>
            <p:spPr>
              <a:xfrm>
                <a:off x="7948864" y="3743309"/>
                <a:ext cx="428591" cy="36988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生 </a:t>
                </a:r>
              </a:p>
            </p:txBody>
          </p:sp>
          <p:sp>
            <p:nvSpPr>
              <p:cNvPr id="70" name="文字方塊 69"/>
              <p:cNvSpPr txBox="1"/>
              <p:nvPr/>
            </p:nvSpPr>
            <p:spPr>
              <a:xfrm>
                <a:off x="7806000" y="4444971"/>
                <a:ext cx="428591" cy="369880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活 </a:t>
                </a:r>
              </a:p>
            </p:txBody>
          </p:sp>
          <p:sp>
            <p:nvSpPr>
              <p:cNvPr id="71" name="文字方塊 70"/>
              <p:cNvSpPr txBox="1"/>
              <p:nvPr/>
            </p:nvSpPr>
            <p:spPr>
              <a:xfrm>
                <a:off x="7380583" y="5310143"/>
                <a:ext cx="428591" cy="369881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情 </a:t>
                </a:r>
              </a:p>
            </p:txBody>
          </p:sp>
          <p:sp>
            <p:nvSpPr>
              <p:cNvPr id="72" name="文字方塊 71"/>
              <p:cNvSpPr txBox="1"/>
              <p:nvPr/>
            </p:nvSpPr>
            <p:spPr>
              <a:xfrm>
                <a:off x="6836113" y="5894332"/>
                <a:ext cx="428591" cy="369881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zh-TW" altLang="en-US" b="1" dirty="0">
                    <a:solidFill>
                      <a:schemeClr val="bg1">
                        <a:lumMod val="50000"/>
                      </a:schemeClr>
                    </a:solidFill>
                    <a:latin typeface="微軟正黑體" panose="020B0604030504040204" pitchFamily="34" charset="-120"/>
                    <a:ea typeface="微軟正黑體" panose="020B0604030504040204" pitchFamily="34" charset="-120"/>
                  </a:rPr>
                  <a:t>境 </a:t>
                </a:r>
              </a:p>
            </p:txBody>
          </p:sp>
        </p:grpSp>
      </p:grpSp>
      <p:sp>
        <p:nvSpPr>
          <p:cNvPr id="26630" name="矩形 1"/>
          <p:cNvSpPr>
            <a:spLocks noChangeArrowheads="1"/>
          </p:cNvSpPr>
          <p:nvPr/>
        </p:nvSpPr>
        <p:spPr bwMode="auto">
          <a:xfrm>
            <a:off x="4349750" y="6013450"/>
            <a:ext cx="32623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zh-TW" altLang="zh-TW" sz="2000" b="1">
                <a:solidFill>
                  <a:srgbClr val="1F4E79"/>
                </a:solidFill>
                <a:ea typeface="微軟正黑體" panose="020B0604030504040204" pitchFamily="34" charset="-120"/>
              </a:rPr>
              <a:t>核心素養的滾動圓輪意象</a:t>
            </a:r>
            <a:r>
              <a:rPr lang="zh-TW" altLang="en-US" sz="2000" b="1">
                <a:solidFill>
                  <a:srgbClr val="1F4E79"/>
                </a:solidFill>
                <a:ea typeface="微軟正黑體" panose="020B0604030504040204" pitchFamily="34" charset="-120"/>
              </a:rPr>
              <a:t>圖</a:t>
            </a:r>
            <a:endParaRPr lang="zh-TW" altLang="en-US" sz="2000" b="1">
              <a:solidFill>
                <a:srgbClr val="1F4E79"/>
              </a:solidFill>
            </a:endParaRPr>
          </a:p>
        </p:txBody>
      </p:sp>
      <p:sp>
        <p:nvSpPr>
          <p:cNvPr id="26631" name="矩形 54"/>
          <p:cNvSpPr>
            <a:spLocks noChangeArrowheads="1"/>
          </p:cNvSpPr>
          <p:nvPr/>
        </p:nvSpPr>
        <p:spPr bwMode="auto">
          <a:xfrm>
            <a:off x="88900" y="1290638"/>
            <a:ext cx="2352675" cy="31702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457200" indent="-4572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</a:pPr>
            <a:r>
              <a:rPr lang="zh-TW" altLang="en-US" sz="3200">
                <a:latin typeface="微軟正黑體" panose="020B0604030504040204" pitchFamily="34" charset="-120"/>
                <a:ea typeface="微軟正黑體" panose="020B0604030504040204" pitchFamily="34" charset="-120"/>
              </a:rPr>
              <a:t>整全</a:t>
            </a:r>
            <a:endParaRPr lang="en-US" altLang="zh-TW" sz="320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</a:pPr>
            <a:r>
              <a:rPr lang="zh-TW" altLang="en-US" sz="3200">
                <a:latin typeface="微軟正黑體" panose="020B0604030504040204" pitchFamily="34" charset="-120"/>
                <a:ea typeface="微軟正黑體" panose="020B0604030504040204" pitchFamily="34" charset="-120"/>
              </a:rPr>
              <a:t>動態</a:t>
            </a:r>
            <a:endParaRPr lang="en-US" altLang="zh-TW" sz="320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</a:pPr>
            <a:r>
              <a:rPr lang="zh-TW" altLang="en-US" sz="3200">
                <a:latin typeface="微軟正黑體" panose="020B0604030504040204" pitchFamily="34" charset="-120"/>
                <a:ea typeface="微軟正黑體" panose="020B0604030504040204" pitchFamily="34" charset="-120"/>
              </a:rPr>
              <a:t>有機</a:t>
            </a:r>
            <a:endParaRPr lang="en-US" altLang="zh-TW" sz="320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</a:pPr>
            <a:r>
              <a:rPr lang="zh-TW" altLang="en-US" sz="3200">
                <a:latin typeface="微軟正黑體" panose="020B0604030504040204" pitchFamily="34" charset="-120"/>
                <a:ea typeface="微軟正黑體" panose="020B0604030504040204" pitchFamily="34" charset="-120"/>
              </a:rPr>
              <a:t>相互連結</a:t>
            </a:r>
            <a:endParaRPr lang="en-US" altLang="zh-TW" sz="320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</a:pPr>
            <a:r>
              <a:rPr lang="zh-TW" altLang="en-US" sz="3200">
                <a:latin typeface="微軟正黑體" panose="020B0604030504040204" pitchFamily="34" charset="-120"/>
                <a:ea typeface="微軟正黑體" panose="020B0604030504040204" pitchFamily="34" charset="-120"/>
              </a:rPr>
              <a:t>交互運用</a:t>
            </a:r>
            <a:endParaRPr lang="en-US" altLang="zh-TW" sz="320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6632" name="矩形 8"/>
          <p:cNvSpPr>
            <a:spLocks noChangeArrowheads="1"/>
          </p:cNvSpPr>
          <p:nvPr/>
        </p:nvSpPr>
        <p:spPr bwMode="auto">
          <a:xfrm>
            <a:off x="-63500" y="5270500"/>
            <a:ext cx="4587875" cy="1570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457200" indent="-4572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zh-TW" altLang="en-US" sz="3200">
                <a:latin typeface="微軟正黑體" panose="020B0604030504040204" pitchFamily="34" charset="-120"/>
                <a:ea typeface="微軟正黑體" panose="020B0604030504040204" pitchFamily="34" charset="-120"/>
              </a:rPr>
              <a:t>透過</a:t>
            </a:r>
            <a:r>
              <a:rPr lang="zh-TW" altLang="en-US" sz="3200" u="sng">
                <a:solidFill>
                  <a:srgbClr val="FF0000"/>
                </a:solidFill>
                <a:latin typeface="微軟正黑體" panose="020B0604030504040204" pitchFamily="34" charset="-120"/>
                <a:ea typeface="微軟正黑體" panose="020B0604030504040204" pitchFamily="34" charset="-120"/>
              </a:rPr>
              <a:t>生活情境</a:t>
            </a:r>
            <a:r>
              <a:rPr lang="zh-TW" altLang="en-US" sz="3200">
                <a:latin typeface="微軟正黑體" panose="020B0604030504040204" pitchFamily="34" charset="-120"/>
                <a:ea typeface="微軟正黑體" panose="020B0604030504040204" pitchFamily="34" charset="-120"/>
              </a:rPr>
              <a:t>涵育</a:t>
            </a:r>
            <a:endParaRPr lang="en-US" altLang="zh-TW" sz="3200"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</a:pPr>
            <a:r>
              <a:rPr lang="zh-TW" altLang="en-US" sz="3200">
                <a:latin typeface="微軟正黑體" panose="020B0604030504040204" pitchFamily="34" charset="-120"/>
                <a:ea typeface="微軟正黑體" panose="020B0604030504040204" pitchFamily="34" charset="-120"/>
              </a:rPr>
              <a:t>在生活情境整合活用</a:t>
            </a:r>
          </a:p>
        </p:txBody>
      </p:sp>
      <p:sp>
        <p:nvSpPr>
          <p:cNvPr id="11" name="矩形 10"/>
          <p:cNvSpPr/>
          <p:nvPr/>
        </p:nvSpPr>
        <p:spPr>
          <a:xfrm flipH="1">
            <a:off x="5873750" y="1690688"/>
            <a:ext cx="22225" cy="84137"/>
          </a:xfrm>
          <a:prstGeom prst="rect">
            <a:avLst/>
          </a:prstGeom>
          <a:solidFill>
            <a:srgbClr val="FFE285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/>
          </a:p>
        </p:txBody>
      </p:sp>
      <p:sp>
        <p:nvSpPr>
          <p:cNvPr id="59" name="矩形 58"/>
          <p:cNvSpPr/>
          <p:nvPr/>
        </p:nvSpPr>
        <p:spPr>
          <a:xfrm>
            <a:off x="5873750" y="1844675"/>
            <a:ext cx="22225" cy="85725"/>
          </a:xfrm>
          <a:prstGeom prst="rect">
            <a:avLst/>
          </a:prstGeom>
          <a:solidFill>
            <a:srgbClr val="FFE285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/>
          </a:p>
        </p:txBody>
      </p:sp>
      <p:sp>
        <p:nvSpPr>
          <p:cNvPr id="60" name="矩形 59"/>
          <p:cNvSpPr/>
          <p:nvPr/>
        </p:nvSpPr>
        <p:spPr>
          <a:xfrm>
            <a:off x="5873750" y="1995488"/>
            <a:ext cx="22225" cy="84137"/>
          </a:xfrm>
          <a:prstGeom prst="rect">
            <a:avLst/>
          </a:prstGeom>
          <a:solidFill>
            <a:srgbClr val="FFE285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/>
          </a:p>
        </p:txBody>
      </p:sp>
      <p:sp>
        <p:nvSpPr>
          <p:cNvPr id="75" name="矩形 74"/>
          <p:cNvSpPr/>
          <p:nvPr/>
        </p:nvSpPr>
        <p:spPr>
          <a:xfrm>
            <a:off x="5875338" y="2170113"/>
            <a:ext cx="20637" cy="84137"/>
          </a:xfrm>
          <a:prstGeom prst="rect">
            <a:avLst/>
          </a:prstGeom>
          <a:solidFill>
            <a:srgbClr val="FFE285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/>
          </a:p>
        </p:txBody>
      </p:sp>
      <p:sp>
        <p:nvSpPr>
          <p:cNvPr id="76" name="矩形 75"/>
          <p:cNvSpPr/>
          <p:nvPr/>
        </p:nvSpPr>
        <p:spPr>
          <a:xfrm>
            <a:off x="5873750" y="2332038"/>
            <a:ext cx="22225" cy="84137"/>
          </a:xfrm>
          <a:prstGeom prst="rect">
            <a:avLst/>
          </a:prstGeom>
          <a:solidFill>
            <a:srgbClr val="FFE285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zh-TW" altLang="en-US"/>
          </a:p>
        </p:txBody>
      </p:sp>
      <p:sp>
        <p:nvSpPr>
          <p:cNvPr id="26638" name="投影片編號版面配置區 11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75413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035C60C5-607A-45B9-8E43-D6F15840E77B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8</a:t>
            </a:fld>
            <a:endParaRPr lang="zh-TW" altLang="en-US" sz="1200">
              <a:solidFill>
                <a:srgbClr val="898989"/>
              </a:solidFill>
            </a:endParaRPr>
          </a:p>
        </p:txBody>
      </p:sp>
    </p:spTree>
  </p:cSld>
  <p:clrMapOvr>
    <a:masterClrMapping/>
  </p:clrMapOvr>
  <p:transition spd="med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674" name="Picture 8" descr="「階梯」的圖片搜尋結果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188" y="131763"/>
            <a:ext cx="4619625" cy="4619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5" name="矩形 3"/>
          <p:cNvSpPr>
            <a:spLocks noChangeArrowheads="1"/>
          </p:cNvSpPr>
          <p:nvPr/>
        </p:nvSpPr>
        <p:spPr bwMode="auto">
          <a:xfrm>
            <a:off x="3957638" y="3041650"/>
            <a:ext cx="4919662" cy="2749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457200" indent="-4572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defRPr/>
            </a:pPr>
            <a:r>
              <a:rPr lang="zh-TW" altLang="en-US" sz="4000" dirty="0">
                <a:latin typeface="微軟正黑體" panose="020B0604030504040204" pitchFamily="34" charset="-120"/>
                <a:ea typeface="微軟正黑體" panose="020B0604030504040204" pitchFamily="34" charset="-120"/>
              </a:rPr>
              <a:t>核心素養的培養是學習者在學習過程中</a:t>
            </a:r>
            <a:r>
              <a:rPr lang="zh-TW" altLang="en-US" sz="4000" b="1" u="sng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軟正黑體" panose="020B0604030504040204" pitchFamily="34" charset="-120"/>
                <a:ea typeface="微軟正黑體" panose="020B0604030504040204" pitchFamily="34" charset="-120"/>
              </a:rPr>
              <a:t>不斷積累的歷程</a:t>
            </a:r>
            <a:endParaRPr lang="en-US" altLang="zh-TW" sz="40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軟正黑體" panose="020B0604030504040204" pitchFamily="34" charset="-120"/>
              <a:ea typeface="微軟正黑體" panose="020B0604030504040204" pitchFamily="34" charset="-120"/>
            </a:endParaRPr>
          </a:p>
        </p:txBody>
      </p:sp>
      <p:sp>
        <p:nvSpPr>
          <p:cNvPr id="28676" name="投影片編號版面配置區 1"/>
          <p:cNvSpPr>
            <a:spLocks noGrp="1"/>
          </p:cNvSpPr>
          <p:nvPr>
            <p:ph type="sldNum" sz="quarter" idx="12"/>
          </p:nvPr>
        </p:nvSpPr>
        <p:spPr bwMode="auto">
          <a:xfrm>
            <a:off x="7086600" y="6492875"/>
            <a:ext cx="20574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新細明體" panose="02020500000000000000" pitchFamily="18" charset="-12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buFontTx/>
              <a:buNone/>
            </a:pPr>
            <a:fld id="{92D91C73-7D82-43D5-A661-123D10D86B4F}" type="slidenum">
              <a:rPr lang="zh-TW" altLang="en-US" sz="1200" smtClean="0">
                <a:solidFill>
                  <a:srgbClr val="898989"/>
                </a:solidFill>
              </a:rPr>
              <a:pPr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9</a:t>
            </a:fld>
            <a:endParaRPr lang="zh-TW" altLang="en-US" sz="1200">
              <a:solidFill>
                <a:srgbClr val="898989"/>
              </a:solidFill>
            </a:endParaRPr>
          </a:p>
        </p:txBody>
      </p:sp>
    </p:spTree>
  </p:cSld>
  <p:clrMapOvr>
    <a:masterClrMapping/>
  </p:clrMapOvr>
  <p:transition spd="med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佈景主題">
  <a:themeElements>
    <a:clrScheme name="Office 佈景主題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佈景主題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佈景主題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佈景主題">
  <a:themeElements>
    <a:clrScheme name="Office 佈景主題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佈景主題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佈景主題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佈景主題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 佈景主題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497</TotalTime>
  <Words>4593</Words>
  <Application>Microsoft Office PowerPoint</Application>
  <PresentationFormat>如螢幕大小 (4:3)</PresentationFormat>
  <Paragraphs>745</Paragraphs>
  <Slides>55</Slides>
  <Notes>15</Notes>
  <HiddenSlides>0</HiddenSlides>
  <MMClips>0</MMClips>
  <ScaleCrop>false</ScaleCrop>
  <HeadingPairs>
    <vt:vector size="4" baseType="variant">
      <vt:variant>
        <vt:lpstr>佈景主題</vt:lpstr>
      </vt:variant>
      <vt:variant>
        <vt:i4>2</vt:i4>
      </vt:variant>
      <vt:variant>
        <vt:lpstr>投影片標題</vt:lpstr>
      </vt:variant>
      <vt:variant>
        <vt:i4>55</vt:i4>
      </vt:variant>
    </vt:vector>
  </HeadingPairs>
  <TitlesOfParts>
    <vt:vector size="57" baseType="lpstr">
      <vt:lpstr>Office 佈景主題</vt:lpstr>
      <vt:lpstr>2_Office 佈景主題</vt:lpstr>
      <vt:lpstr>協力同行 解析實踐        </vt:lpstr>
      <vt:lpstr>PowerPoint 簡報</vt:lpstr>
      <vt:lpstr>十二年國民基本教育課程綱要 總綱重要理念與內涵</vt:lpstr>
      <vt:lpstr>一、 十二年國民基本教育 課程綱要理念與特色</vt:lpstr>
      <vt:lpstr>總綱的理念與目標</vt:lpstr>
      <vt:lpstr>核心素養界定</vt:lpstr>
      <vt:lpstr>PowerPoint 簡報</vt:lpstr>
      <vt:lpstr>核心素養</vt:lpstr>
      <vt:lpstr>PowerPoint 簡報</vt:lpstr>
      <vt:lpstr>PowerPoint 簡報</vt:lpstr>
      <vt:lpstr>PowerPoint 簡報</vt:lpstr>
      <vt:lpstr>二、 十二年國民基本教育 課程綱要總綱課程架構</vt:lpstr>
      <vt:lpstr>PowerPoint 簡報</vt:lpstr>
      <vt:lpstr>PowerPoint 簡報</vt:lpstr>
      <vt:lpstr>PowerPoint 簡報</vt:lpstr>
      <vt:lpstr>十二年國教課綱強調學校本位課程發展</vt:lpstr>
      <vt:lpstr>社會領域課程綱要 重要理念與內涵</vt:lpstr>
      <vt:lpstr>PowerPoint 簡報</vt:lpstr>
      <vt:lpstr>社會領域基本理念</vt:lpstr>
      <vt:lpstr>社會領域課程目標</vt:lpstr>
      <vt:lpstr>面對未來，社會領域的教學是…</vt:lpstr>
      <vt:lpstr>PowerPoint 簡報</vt:lpstr>
      <vt:lpstr>一、素養導向的課綱</vt:lpstr>
      <vt:lpstr>課綱核心素養舉隅</vt:lpstr>
      <vt:lpstr>課綱核心素養與學習重點的呼應</vt:lpstr>
      <vt:lpstr>課綱核心素養與學習重點 雙向細目表舉隅</vt:lpstr>
      <vt:lpstr>素養導向教學與教材設計 兩大準則</vt:lpstr>
      <vt:lpstr>PowerPoint 簡報</vt:lpstr>
      <vt:lpstr>二、連貫統整的課綱</vt:lpstr>
      <vt:lpstr>時間規劃 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三、多元適性的課綱</vt:lpstr>
      <vt:lpstr>實施要點（一）課程發展</vt:lpstr>
      <vt:lpstr>實施要點（二）教材編選</vt:lpstr>
      <vt:lpstr>實施要點（三）教學實施</vt:lpstr>
      <vt:lpstr>實施要點（四）學習評量</vt:lpstr>
      <vt:lpstr>議題融入說明</vt:lpstr>
      <vt:lpstr>議題融入示例舉隅</vt:lpstr>
      <vt:lpstr>國教院研發 之課綱實施支持資源 </vt:lpstr>
      <vt:lpstr>社會領域課綱實施相關資源-課程手冊</vt:lpstr>
      <vt:lpstr>社會領域課綱實施教學案例</vt:lpstr>
      <vt:lpstr>更多的十二年國教課綱 實施的參考資源</vt:lpstr>
      <vt:lpstr>PowerPoint 簡報</vt:lpstr>
    </vt:vector>
  </TitlesOfParts>
  <Company>Hewlett-Packard Compan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國家教育研究院簡報版型</dc:title>
  <dc:creator>國家教育研究院綜合規劃室</dc:creator>
  <cp:lastModifiedBy>未知的使用者</cp:lastModifiedBy>
  <cp:revision>1015</cp:revision>
  <cp:lastPrinted>2019-07-31T03:23:41Z</cp:lastPrinted>
  <dcterms:created xsi:type="dcterms:W3CDTF">2015-05-12T09:09:43Z</dcterms:created>
  <dcterms:modified xsi:type="dcterms:W3CDTF">2019-08-02T09:45:33Z</dcterms:modified>
</cp:coreProperties>
</file>